
<file path=[Content_Types].xml><?xml version="1.0" encoding="utf-8"?>
<Types xmlns="http://schemas.openxmlformats.org/package/2006/content-types">
  <Default Extension="docx" ContentType="application/vnd.openxmlformats-officedocument.wordprocessingml.documen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684" r:id="rId3"/>
  </p:sldMasterIdLst>
  <p:notesMasterIdLst>
    <p:notesMasterId r:id="rId46"/>
  </p:notesMasterIdLst>
  <p:sldIdLst>
    <p:sldId id="256" r:id="rId4"/>
    <p:sldId id="276" r:id="rId5"/>
    <p:sldId id="751" r:id="rId6"/>
    <p:sldId id="913" r:id="rId7"/>
    <p:sldId id="914" r:id="rId8"/>
    <p:sldId id="915" r:id="rId9"/>
    <p:sldId id="905" r:id="rId10"/>
    <p:sldId id="338" r:id="rId11"/>
    <p:sldId id="342" r:id="rId12"/>
    <p:sldId id="906" r:id="rId13"/>
    <p:sldId id="911" r:id="rId14"/>
    <p:sldId id="867" r:id="rId15"/>
    <p:sldId id="916" r:id="rId16"/>
    <p:sldId id="917" r:id="rId17"/>
    <p:sldId id="918" r:id="rId18"/>
    <p:sldId id="912" r:id="rId19"/>
    <p:sldId id="919" r:id="rId20"/>
    <p:sldId id="920" r:id="rId21"/>
    <p:sldId id="921" r:id="rId22"/>
    <p:sldId id="923" r:id="rId23"/>
    <p:sldId id="933" r:id="rId24"/>
    <p:sldId id="934" r:id="rId25"/>
    <p:sldId id="935" r:id="rId26"/>
    <p:sldId id="936" r:id="rId27"/>
    <p:sldId id="937" r:id="rId28"/>
    <p:sldId id="938" r:id="rId29"/>
    <p:sldId id="903" r:id="rId30"/>
    <p:sldId id="904" r:id="rId31"/>
    <p:sldId id="922" r:id="rId32"/>
    <p:sldId id="908" r:id="rId33"/>
    <p:sldId id="909" r:id="rId34"/>
    <p:sldId id="910" r:id="rId35"/>
    <p:sldId id="924" r:id="rId36"/>
    <p:sldId id="925" r:id="rId37"/>
    <p:sldId id="926" r:id="rId38"/>
    <p:sldId id="927" r:id="rId39"/>
    <p:sldId id="928" r:id="rId40"/>
    <p:sldId id="929" r:id="rId41"/>
    <p:sldId id="930" r:id="rId42"/>
    <p:sldId id="931" r:id="rId43"/>
    <p:sldId id="932" r:id="rId44"/>
    <p:sldId id="839" r:id="rId45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egidadmin" initials="c" lastIdx="1" clrIdx="0">
    <p:extLst>
      <p:ext uri="{19B8F6BF-5375-455C-9EA6-DF929625EA0E}">
        <p15:presenceInfo xmlns:p15="http://schemas.microsoft.com/office/powerpoint/2012/main" userId="cegidadmin" providerId="None"/>
      </p:ext>
    </p:extLst>
  </p:cmAuthor>
  <p:cmAuthor id="2" name="christophe CHUECOS-FONT" initials="cCF" lastIdx="2" clrIdx="1">
    <p:extLst>
      <p:ext uri="{19B8F6BF-5375-455C-9EA6-DF929625EA0E}">
        <p15:presenceInfo xmlns:p15="http://schemas.microsoft.com/office/powerpoint/2012/main" userId="christophe CHUECOS-FON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81" autoAdjust="0"/>
    <p:restoredTop sz="94660"/>
  </p:normalViewPr>
  <p:slideViewPr>
    <p:cSldViewPr snapToGrid="0">
      <p:cViewPr varScale="1">
        <p:scale>
          <a:sx n="118" d="100"/>
          <a:sy n="118" d="100"/>
        </p:scale>
        <p:origin x="120" y="3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phe CHUECOS-FONT" userId="7e57acaa-4bc6-4644-8edc-0ecdded28594" providerId="ADAL" clId="{AEC8F169-53EF-477E-AA87-6479700505CB}"/>
    <pc:docChg chg="undo custSel addSld delSld modSld sldOrd">
      <pc:chgData name="christophe CHUECOS-FONT" userId="7e57acaa-4bc6-4644-8edc-0ecdded28594" providerId="ADAL" clId="{AEC8F169-53EF-477E-AA87-6479700505CB}" dt="2021-03-26T12:12:34.739" v="2012" actId="27636"/>
      <pc:docMkLst>
        <pc:docMk/>
      </pc:docMkLst>
      <pc:sldChg chg="modSp mod">
        <pc:chgData name="christophe CHUECOS-FONT" userId="7e57acaa-4bc6-4644-8edc-0ecdded28594" providerId="ADAL" clId="{AEC8F169-53EF-477E-AA87-6479700505CB}" dt="2021-03-26T12:12:34.739" v="2012" actId="27636"/>
        <pc:sldMkLst>
          <pc:docMk/>
          <pc:sldMk cId="3848639155" sldId="256"/>
        </pc:sldMkLst>
        <pc:spChg chg="mod">
          <ac:chgData name="christophe CHUECOS-FONT" userId="7e57acaa-4bc6-4644-8edc-0ecdded28594" providerId="ADAL" clId="{AEC8F169-53EF-477E-AA87-6479700505CB}" dt="2021-03-26T12:12:34.739" v="2012" actId="27636"/>
          <ac:spMkLst>
            <pc:docMk/>
            <pc:sldMk cId="3848639155" sldId="256"/>
            <ac:spMk id="3" creationId="{21349F9F-31B4-41DC-B4DB-C097467B5266}"/>
          </ac:spMkLst>
        </pc:spChg>
      </pc:sldChg>
      <pc:sldChg chg="modSp mod">
        <pc:chgData name="christophe CHUECOS-FONT" userId="7e57acaa-4bc6-4644-8edc-0ecdded28594" providerId="ADAL" clId="{AEC8F169-53EF-477E-AA87-6479700505CB}" dt="2021-03-24T15:50:43.175" v="63" actId="207"/>
        <pc:sldMkLst>
          <pc:docMk/>
          <pc:sldMk cId="251691404" sldId="276"/>
        </pc:sldMkLst>
        <pc:graphicFrameChg chg="mod modGraphic">
          <ac:chgData name="christophe CHUECOS-FONT" userId="7e57acaa-4bc6-4644-8edc-0ecdded28594" providerId="ADAL" clId="{AEC8F169-53EF-477E-AA87-6479700505CB}" dt="2021-03-24T15:50:43.175" v="63" actId="207"/>
          <ac:graphicFrameMkLst>
            <pc:docMk/>
            <pc:sldMk cId="251691404" sldId="276"/>
            <ac:graphicFrameMk id="3" creationId="{90A39BD7-E179-4570-8079-E6A295B49267}"/>
          </ac:graphicFrameMkLst>
        </pc:graphicFrameChg>
      </pc:sldChg>
      <pc:sldChg chg="ord">
        <pc:chgData name="christophe CHUECOS-FONT" userId="7e57acaa-4bc6-4644-8edc-0ecdded28594" providerId="ADAL" clId="{AEC8F169-53EF-477E-AA87-6479700505CB}" dt="2021-03-24T15:52:04.958" v="68"/>
        <pc:sldMkLst>
          <pc:docMk/>
          <pc:sldMk cId="1271957293" sldId="338"/>
        </pc:sldMkLst>
      </pc:sldChg>
      <pc:sldChg chg="ord">
        <pc:chgData name="christophe CHUECOS-FONT" userId="7e57acaa-4bc6-4644-8edc-0ecdded28594" providerId="ADAL" clId="{AEC8F169-53EF-477E-AA87-6479700505CB}" dt="2021-03-24T15:52:04.958" v="68"/>
        <pc:sldMkLst>
          <pc:docMk/>
          <pc:sldMk cId="2720677423" sldId="342"/>
        </pc:sldMkLst>
      </pc:sldChg>
      <pc:sldChg chg="modSp mod">
        <pc:chgData name="christophe CHUECOS-FONT" userId="7e57acaa-4bc6-4644-8edc-0ecdded28594" providerId="ADAL" clId="{AEC8F169-53EF-477E-AA87-6479700505CB}" dt="2021-03-24T15:59:18.286" v="541" actId="20577"/>
        <pc:sldMkLst>
          <pc:docMk/>
          <pc:sldMk cId="2343994896" sldId="867"/>
        </pc:sldMkLst>
        <pc:spChg chg="mod">
          <ac:chgData name="christophe CHUECOS-FONT" userId="7e57acaa-4bc6-4644-8edc-0ecdded28594" providerId="ADAL" clId="{AEC8F169-53EF-477E-AA87-6479700505CB}" dt="2021-03-24T15:59:18.286" v="541" actId="20577"/>
          <ac:spMkLst>
            <pc:docMk/>
            <pc:sldMk cId="2343994896" sldId="867"/>
            <ac:spMk id="3" creationId="{9FA71A85-160A-4CFF-9241-BA71D421B86B}"/>
          </ac:spMkLst>
        </pc:spChg>
      </pc:sldChg>
      <pc:sldChg chg="del">
        <pc:chgData name="christophe CHUECOS-FONT" userId="7e57acaa-4bc6-4644-8edc-0ecdded28594" providerId="ADAL" clId="{AEC8F169-53EF-477E-AA87-6479700505CB}" dt="2021-03-24T15:50:56.315" v="64" actId="47"/>
        <pc:sldMkLst>
          <pc:docMk/>
          <pc:sldMk cId="4246420157" sldId="868"/>
        </pc:sldMkLst>
      </pc:sldChg>
      <pc:sldChg chg="del">
        <pc:chgData name="christophe CHUECOS-FONT" userId="7e57acaa-4bc6-4644-8edc-0ecdded28594" providerId="ADAL" clId="{AEC8F169-53EF-477E-AA87-6479700505CB}" dt="2021-03-24T15:50:56.315" v="64" actId="47"/>
        <pc:sldMkLst>
          <pc:docMk/>
          <pc:sldMk cId="3567505306" sldId="869"/>
        </pc:sldMkLst>
      </pc:sldChg>
      <pc:sldChg chg="del">
        <pc:chgData name="christophe CHUECOS-FONT" userId="7e57acaa-4bc6-4644-8edc-0ecdded28594" providerId="ADAL" clId="{AEC8F169-53EF-477E-AA87-6479700505CB}" dt="2021-03-24T15:50:56.315" v="64" actId="47"/>
        <pc:sldMkLst>
          <pc:docMk/>
          <pc:sldMk cId="2916156587" sldId="870"/>
        </pc:sldMkLst>
      </pc:sldChg>
      <pc:sldChg chg="del">
        <pc:chgData name="christophe CHUECOS-FONT" userId="7e57acaa-4bc6-4644-8edc-0ecdded28594" providerId="ADAL" clId="{AEC8F169-53EF-477E-AA87-6479700505CB}" dt="2021-03-24T15:50:56.315" v="64" actId="47"/>
        <pc:sldMkLst>
          <pc:docMk/>
          <pc:sldMk cId="2390975454" sldId="872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1420163618" sldId="874"/>
        </pc:sldMkLst>
      </pc:sldChg>
      <pc:sldChg chg="addSp delSp modSp del mod">
        <pc:chgData name="christophe CHUECOS-FONT" userId="7e57acaa-4bc6-4644-8edc-0ecdded28594" providerId="ADAL" clId="{AEC8F169-53EF-477E-AA87-6479700505CB}" dt="2021-03-24T16:27:10.865" v="606" actId="47"/>
        <pc:sldMkLst>
          <pc:docMk/>
          <pc:sldMk cId="1272505437" sldId="875"/>
        </pc:sldMkLst>
        <pc:spChg chg="add del mod">
          <ac:chgData name="christophe CHUECOS-FONT" userId="7e57acaa-4bc6-4644-8edc-0ecdded28594" providerId="ADAL" clId="{AEC8F169-53EF-477E-AA87-6479700505CB}" dt="2021-03-24T16:05:58.608" v="574" actId="27636"/>
          <ac:spMkLst>
            <pc:docMk/>
            <pc:sldMk cId="1272505437" sldId="875"/>
            <ac:spMk id="2" creationId="{AEFCB68E-E041-4E46-A233-3C2208DA32CB}"/>
          </ac:spMkLst>
        </pc:spChg>
        <pc:spChg chg="add del mod">
          <ac:chgData name="christophe CHUECOS-FONT" userId="7e57acaa-4bc6-4644-8edc-0ecdded28594" providerId="ADAL" clId="{AEC8F169-53EF-477E-AA87-6479700505CB}" dt="2021-03-24T16:05:58.577" v="573" actId="255"/>
          <ac:spMkLst>
            <pc:docMk/>
            <pc:sldMk cId="1272505437" sldId="875"/>
            <ac:spMk id="3" creationId="{9FA71A85-160A-4CFF-9241-BA71D421B86B}"/>
          </ac:spMkLst>
        </pc:spChg>
        <pc:spChg chg="add del mod">
          <ac:chgData name="christophe CHUECOS-FONT" userId="7e57acaa-4bc6-4644-8edc-0ecdded28594" providerId="ADAL" clId="{AEC8F169-53EF-477E-AA87-6479700505CB}" dt="2021-03-24T16:05:43.099" v="572" actId="21"/>
          <ac:spMkLst>
            <pc:docMk/>
            <pc:sldMk cId="1272505437" sldId="875"/>
            <ac:spMk id="7" creationId="{7474A46D-EC03-451B-8937-EB17AC694879}"/>
          </ac:spMkLst>
        </pc:spChg>
        <pc:spChg chg="add del mod">
          <ac:chgData name="christophe CHUECOS-FONT" userId="7e57acaa-4bc6-4644-8edc-0ecdded28594" providerId="ADAL" clId="{AEC8F169-53EF-477E-AA87-6479700505CB}" dt="2021-03-24T16:05:43.099" v="572" actId="21"/>
          <ac:spMkLst>
            <pc:docMk/>
            <pc:sldMk cId="1272505437" sldId="875"/>
            <ac:spMk id="9" creationId="{51C7B3E8-0B4D-4DE7-B85D-BF987A04E337}"/>
          </ac:spMkLst>
        </pc:spChg>
        <pc:spChg chg="add del mod">
          <ac:chgData name="christophe CHUECOS-FONT" userId="7e57acaa-4bc6-4644-8edc-0ecdded28594" providerId="ADAL" clId="{AEC8F169-53EF-477E-AA87-6479700505CB}" dt="2021-03-24T16:05:58.577" v="573" actId="255"/>
          <ac:spMkLst>
            <pc:docMk/>
            <pc:sldMk cId="1272505437" sldId="875"/>
            <ac:spMk id="17" creationId="{100EDD19-6802-4EC3-95CE-CFFAB042CFD6}"/>
          </ac:spMkLst>
        </pc:spChg>
        <pc:spChg chg="add del mod">
          <ac:chgData name="christophe CHUECOS-FONT" userId="7e57acaa-4bc6-4644-8edc-0ecdded28594" providerId="ADAL" clId="{AEC8F169-53EF-477E-AA87-6479700505CB}" dt="2021-03-24T16:05:58.577" v="573" actId="255"/>
          <ac:spMkLst>
            <pc:docMk/>
            <pc:sldMk cId="1272505437" sldId="875"/>
            <ac:spMk id="19" creationId="{DB17E863-922E-4C26-BD64-E8FD41D28661}"/>
          </ac:spMkLst>
        </pc:spChg>
        <pc:graphicFrameChg chg="add del mod">
          <ac:chgData name="christophe CHUECOS-FONT" userId="7e57acaa-4bc6-4644-8edc-0ecdded28594" providerId="ADAL" clId="{AEC8F169-53EF-477E-AA87-6479700505CB}" dt="2021-03-24T16:04:37.401" v="545" actId="478"/>
          <ac:graphicFrameMkLst>
            <pc:docMk/>
            <pc:sldMk cId="1272505437" sldId="875"/>
            <ac:graphicFrameMk id="4" creationId="{79E6EB5D-C087-4EEF-98A7-C4EBFBBFAC6F}"/>
          </ac:graphicFrameMkLst>
        </pc:graphicFrameChg>
        <pc:graphicFrameChg chg="add del mod modGraphic">
          <ac:chgData name="christophe CHUECOS-FONT" userId="7e57acaa-4bc6-4644-8edc-0ecdded28594" providerId="ADAL" clId="{AEC8F169-53EF-477E-AA87-6479700505CB}" dt="2021-03-24T16:05:43.099" v="572" actId="21"/>
          <ac:graphicFrameMkLst>
            <pc:docMk/>
            <pc:sldMk cId="1272505437" sldId="875"/>
            <ac:graphicFrameMk id="5" creationId="{3B2EE863-69EE-470E-A078-DDF1D7866279}"/>
          </ac:graphicFrameMkLst>
        </pc:graphicFrameChg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2120194084" sldId="876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3555506515" sldId="881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4214439185" sldId="882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956738131" sldId="883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564049889" sldId="884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2500649885" sldId="885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2772397083" sldId="886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4010406189" sldId="887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4292866186" sldId="888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3854511998" sldId="889"/>
        </pc:sldMkLst>
      </pc:sldChg>
      <pc:sldChg chg="del">
        <pc:chgData name="christophe CHUECOS-FONT" userId="7e57acaa-4bc6-4644-8edc-0ecdded28594" providerId="ADAL" clId="{AEC8F169-53EF-477E-AA87-6479700505CB}" dt="2021-03-24T18:05:55.052" v="1292" actId="47"/>
        <pc:sldMkLst>
          <pc:docMk/>
          <pc:sldMk cId="2561881984" sldId="890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162758596" sldId="891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3592509618" sldId="892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1833177139" sldId="893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3528439896" sldId="895"/>
        </pc:sldMkLst>
      </pc:sldChg>
      <pc:sldChg chg="del">
        <pc:chgData name="christophe CHUECOS-FONT" userId="7e57acaa-4bc6-4644-8edc-0ecdded28594" providerId="ADAL" clId="{AEC8F169-53EF-477E-AA87-6479700505CB}" dt="2021-03-24T18:05:57.600" v="1293" actId="47"/>
        <pc:sldMkLst>
          <pc:docMk/>
          <pc:sldMk cId="2970499838" sldId="896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3210478480" sldId="897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1288409538" sldId="898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3763403550" sldId="899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456064155" sldId="901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3566007874" sldId="902"/>
        </pc:sldMkLst>
      </pc:sldChg>
      <pc:sldChg chg="modSp mod ord">
        <pc:chgData name="christophe CHUECOS-FONT" userId="7e57acaa-4bc6-4644-8edc-0ecdded28594" providerId="ADAL" clId="{AEC8F169-53EF-477E-AA87-6479700505CB}" dt="2021-03-26T12:05:37.018" v="1960"/>
        <pc:sldMkLst>
          <pc:docMk/>
          <pc:sldMk cId="518596460" sldId="903"/>
        </pc:sldMkLst>
        <pc:spChg chg="mod">
          <ac:chgData name="christophe CHUECOS-FONT" userId="7e57acaa-4bc6-4644-8edc-0ecdded28594" providerId="ADAL" clId="{AEC8F169-53EF-477E-AA87-6479700505CB}" dt="2021-03-26T10:42:42.730" v="1326" actId="6549"/>
          <ac:spMkLst>
            <pc:docMk/>
            <pc:sldMk cId="518596460" sldId="903"/>
            <ac:spMk id="2" creationId="{41644713-AF21-4543-94FE-A96FEBAA2B11}"/>
          </ac:spMkLst>
        </pc:spChg>
        <pc:spChg chg="mod">
          <ac:chgData name="christophe CHUECOS-FONT" userId="7e57acaa-4bc6-4644-8edc-0ecdded28594" providerId="ADAL" clId="{AEC8F169-53EF-477E-AA87-6479700505CB}" dt="2021-03-26T10:42:39.267" v="1325" actId="20577"/>
          <ac:spMkLst>
            <pc:docMk/>
            <pc:sldMk cId="518596460" sldId="903"/>
            <ac:spMk id="3" creationId="{6E6AB3AA-03B3-4E7A-94A3-3EB3E0E9D005}"/>
          </ac:spMkLst>
        </pc:spChg>
      </pc:sldChg>
      <pc:sldChg chg="modSp mod">
        <pc:chgData name="christophe CHUECOS-FONT" userId="7e57acaa-4bc6-4644-8edc-0ecdded28594" providerId="ADAL" clId="{AEC8F169-53EF-477E-AA87-6479700505CB}" dt="2021-03-26T10:42:27.630" v="1316" actId="20577"/>
        <pc:sldMkLst>
          <pc:docMk/>
          <pc:sldMk cId="2856685236" sldId="904"/>
        </pc:sldMkLst>
        <pc:spChg chg="mod">
          <ac:chgData name="christophe CHUECOS-FONT" userId="7e57acaa-4bc6-4644-8edc-0ecdded28594" providerId="ADAL" clId="{AEC8F169-53EF-477E-AA87-6479700505CB}" dt="2021-03-26T10:42:27.630" v="1316" actId="20577"/>
          <ac:spMkLst>
            <pc:docMk/>
            <pc:sldMk cId="2856685236" sldId="904"/>
            <ac:spMk id="5" creationId="{DFEA2082-E7DE-4453-8158-54F380B94285}"/>
          </ac:spMkLst>
        </pc:spChg>
      </pc:sldChg>
      <pc:sldChg chg="modSp mod ord">
        <pc:chgData name="christophe CHUECOS-FONT" userId="7e57acaa-4bc6-4644-8edc-0ecdded28594" providerId="ADAL" clId="{AEC8F169-53EF-477E-AA87-6479700505CB}" dt="2021-03-24T15:56:08.212" v="148" actId="20577"/>
        <pc:sldMkLst>
          <pc:docMk/>
          <pc:sldMk cId="963568808" sldId="905"/>
        </pc:sldMkLst>
        <pc:spChg chg="mod">
          <ac:chgData name="christophe CHUECOS-FONT" userId="7e57acaa-4bc6-4644-8edc-0ecdded28594" providerId="ADAL" clId="{AEC8F169-53EF-477E-AA87-6479700505CB}" dt="2021-03-24T15:56:08.212" v="148" actId="20577"/>
          <ac:spMkLst>
            <pc:docMk/>
            <pc:sldMk cId="963568808" sldId="905"/>
            <ac:spMk id="5" creationId="{DFEA2082-E7DE-4453-8158-54F380B94285}"/>
          </ac:spMkLst>
        </pc:spChg>
      </pc:sldChg>
      <pc:sldChg chg="modSp mod ord">
        <pc:chgData name="christophe CHUECOS-FONT" userId="7e57acaa-4bc6-4644-8edc-0ecdded28594" providerId="ADAL" clId="{AEC8F169-53EF-477E-AA87-6479700505CB}" dt="2021-03-24T15:57:06.465" v="292" actId="20577"/>
        <pc:sldMkLst>
          <pc:docMk/>
          <pc:sldMk cId="2413877595" sldId="906"/>
        </pc:sldMkLst>
        <pc:spChg chg="mod">
          <ac:chgData name="christophe CHUECOS-FONT" userId="7e57acaa-4bc6-4644-8edc-0ecdded28594" providerId="ADAL" clId="{AEC8F169-53EF-477E-AA87-6479700505CB}" dt="2021-03-24T15:57:06.465" v="292" actId="20577"/>
          <ac:spMkLst>
            <pc:docMk/>
            <pc:sldMk cId="2413877595" sldId="906"/>
            <ac:spMk id="3" creationId="{9FA71A85-160A-4CFF-9241-BA71D421B86B}"/>
          </ac:spMkLst>
        </pc:spChg>
      </pc:sldChg>
      <pc:sldChg chg="del">
        <pc:chgData name="christophe CHUECOS-FONT" userId="7e57acaa-4bc6-4644-8edc-0ecdded28594" providerId="ADAL" clId="{AEC8F169-53EF-477E-AA87-6479700505CB}" dt="2021-03-26T10:42:47.154" v="1327" actId="47"/>
        <pc:sldMkLst>
          <pc:docMk/>
          <pc:sldMk cId="606901911" sldId="907"/>
        </pc:sldMkLst>
      </pc:sldChg>
      <pc:sldChg chg="addSp delSp modSp mod setBg">
        <pc:chgData name="christophe CHUECOS-FONT" userId="7e57acaa-4bc6-4644-8edc-0ecdded28594" providerId="ADAL" clId="{AEC8F169-53EF-477E-AA87-6479700505CB}" dt="2021-03-26T11:24:33.867" v="1570" actId="26606"/>
        <pc:sldMkLst>
          <pc:docMk/>
          <pc:sldMk cId="3810924798" sldId="908"/>
        </pc:sldMkLst>
        <pc:spChg chg="mod">
          <ac:chgData name="christophe CHUECOS-FONT" userId="7e57acaa-4bc6-4644-8edc-0ecdded28594" providerId="ADAL" clId="{AEC8F169-53EF-477E-AA87-6479700505CB}" dt="2021-03-26T11:24:33.867" v="1570" actId="26606"/>
          <ac:spMkLst>
            <pc:docMk/>
            <pc:sldMk cId="3810924798" sldId="908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AEC8F169-53EF-477E-AA87-6479700505CB}" dt="2021-03-26T11:12:10.612" v="1335"/>
          <ac:spMkLst>
            <pc:docMk/>
            <pc:sldMk cId="3810924798" sldId="908"/>
            <ac:spMk id="4" creationId="{B3280688-2F61-454E-A709-72F5457646C7}"/>
          </ac:spMkLst>
        </pc:spChg>
        <pc:spChg chg="add del mod">
          <ac:chgData name="christophe CHUECOS-FONT" userId="7e57acaa-4bc6-4644-8edc-0ecdded28594" providerId="ADAL" clId="{AEC8F169-53EF-477E-AA87-6479700505CB}" dt="2021-03-26T11:12:26.826" v="1337"/>
          <ac:spMkLst>
            <pc:docMk/>
            <pc:sldMk cId="3810924798" sldId="908"/>
            <ac:spMk id="8" creationId="{5854B5F1-0E87-4605-90B3-DE0FD917AB2D}"/>
          </ac:spMkLst>
        </pc:spChg>
        <pc:spChg chg="add del">
          <ac:chgData name="christophe CHUECOS-FONT" userId="7e57acaa-4bc6-4644-8edc-0ecdded28594" providerId="ADAL" clId="{AEC8F169-53EF-477E-AA87-6479700505CB}" dt="2021-03-26T11:24:33.867" v="1570" actId="26606"/>
          <ac:spMkLst>
            <pc:docMk/>
            <pc:sldMk cId="3810924798" sldId="908"/>
            <ac:spMk id="14" creationId="{D12DDE76-C203-4047-9998-63900085B5E8}"/>
          </ac:spMkLst>
        </pc:spChg>
        <pc:graphicFrameChg chg="del mod">
          <ac:chgData name="christophe CHUECOS-FONT" userId="7e57acaa-4bc6-4644-8edc-0ecdded28594" providerId="ADAL" clId="{AEC8F169-53EF-477E-AA87-6479700505CB}" dt="2021-03-26T11:12:06.246" v="1334" actId="21"/>
          <ac:graphicFrameMkLst>
            <pc:docMk/>
            <pc:sldMk cId="3810924798" sldId="908"/>
            <ac:graphicFrameMk id="5" creationId="{43C069CA-369C-4FE3-84C1-BB47F63F8528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24:33.867" v="1570" actId="26606"/>
          <ac:graphicFrameMkLst>
            <pc:docMk/>
            <pc:sldMk cId="3810924798" sldId="908"/>
            <ac:graphicFrameMk id="9" creationId="{28197CF5-4A66-4B20-AD59-453DC110C409}"/>
          </ac:graphicFrameMkLst>
        </pc:graphicFrameChg>
        <pc:picChg chg="add del mod">
          <ac:chgData name="christophe CHUECOS-FONT" userId="7e57acaa-4bc6-4644-8edc-0ecdded28594" providerId="ADAL" clId="{AEC8F169-53EF-477E-AA87-6479700505CB}" dt="2021-03-26T11:12:13.678" v="1336" actId="478"/>
          <ac:picMkLst>
            <pc:docMk/>
            <pc:sldMk cId="3810924798" sldId="908"/>
            <ac:picMk id="6" creationId="{544F78A7-7590-4A58-977C-A1AE62728009}"/>
          </ac:picMkLst>
        </pc:picChg>
      </pc:sldChg>
      <pc:sldChg chg="addSp delSp modSp mod setBg delCm">
        <pc:chgData name="christophe CHUECOS-FONT" userId="7e57acaa-4bc6-4644-8edc-0ecdded28594" providerId="ADAL" clId="{AEC8F169-53EF-477E-AA87-6479700505CB}" dt="2021-03-26T11:23:14.967" v="1558" actId="26606"/>
        <pc:sldMkLst>
          <pc:docMk/>
          <pc:sldMk cId="1480198139" sldId="909"/>
        </pc:sldMkLst>
        <pc:spChg chg="add del mod">
          <ac:chgData name="christophe CHUECOS-FONT" userId="7e57acaa-4bc6-4644-8edc-0ecdded28594" providerId="ADAL" clId="{AEC8F169-53EF-477E-AA87-6479700505CB}" dt="2021-03-26T11:15:06.063" v="1439"/>
          <ac:spMkLst>
            <pc:docMk/>
            <pc:sldMk cId="1480198139" sldId="909"/>
            <ac:spMk id="3" creationId="{147E1F0C-F017-4B02-B32E-08CCC3A44879}"/>
          </ac:spMkLst>
        </pc:spChg>
        <pc:spChg chg="add mod">
          <ac:chgData name="christophe CHUECOS-FONT" userId="7e57acaa-4bc6-4644-8edc-0ecdded28594" providerId="ADAL" clId="{AEC8F169-53EF-477E-AA87-6479700505CB}" dt="2021-03-26T11:23:14.967" v="1558" actId="26606"/>
          <ac:spMkLst>
            <pc:docMk/>
            <pc:sldMk cId="1480198139" sldId="909"/>
            <ac:spMk id="5" creationId="{0C94751B-4797-48DD-A7B0-4DB16F378D6D}"/>
          </ac:spMkLst>
        </pc:spChg>
        <pc:spChg chg="add">
          <ac:chgData name="christophe CHUECOS-FONT" userId="7e57acaa-4bc6-4644-8edc-0ecdded28594" providerId="ADAL" clId="{AEC8F169-53EF-477E-AA87-6479700505CB}" dt="2021-03-26T11:23:14.967" v="1558" actId="26606"/>
          <ac:spMkLst>
            <pc:docMk/>
            <pc:sldMk cId="1480198139" sldId="909"/>
            <ac:spMk id="7" creationId="{BACC6370-2D7E-4714-9D71-7542949D7D5D}"/>
          </ac:spMkLst>
        </pc:spChg>
        <pc:spChg chg="add">
          <ac:chgData name="christophe CHUECOS-FONT" userId="7e57acaa-4bc6-4644-8edc-0ecdded28594" providerId="ADAL" clId="{AEC8F169-53EF-477E-AA87-6479700505CB}" dt="2021-03-26T11:23:14.967" v="1558" actId="26606"/>
          <ac:spMkLst>
            <pc:docMk/>
            <pc:sldMk cId="1480198139" sldId="909"/>
            <ac:spMk id="9" creationId="{F68B3F68-107C-434F-AA38-110D5EA91B85}"/>
          </ac:spMkLst>
        </pc:spChg>
        <pc:spChg chg="add">
          <ac:chgData name="christophe CHUECOS-FONT" userId="7e57acaa-4bc6-4644-8edc-0ecdded28594" providerId="ADAL" clId="{AEC8F169-53EF-477E-AA87-6479700505CB}" dt="2021-03-26T11:23:14.967" v="1558" actId="26606"/>
          <ac:spMkLst>
            <pc:docMk/>
            <pc:sldMk cId="1480198139" sldId="909"/>
            <ac:spMk id="14" creationId="{AAD0DBB9-1A4B-4391-81D4-CB19F9AB918A}"/>
          </ac:spMkLst>
        </pc:spChg>
        <pc:spChg chg="add">
          <ac:chgData name="christophe CHUECOS-FONT" userId="7e57acaa-4bc6-4644-8edc-0ecdded28594" providerId="ADAL" clId="{AEC8F169-53EF-477E-AA87-6479700505CB}" dt="2021-03-26T11:23:14.967" v="1558" actId="26606"/>
          <ac:spMkLst>
            <pc:docMk/>
            <pc:sldMk cId="1480198139" sldId="909"/>
            <ac:spMk id="16" creationId="{063BBA22-50EA-4C4D-BE05-F1CE4E63AA56}"/>
          </ac:spMkLst>
        </pc:spChg>
        <pc:graphicFrameChg chg="add mod ord modGraphic">
          <ac:chgData name="christophe CHUECOS-FONT" userId="7e57acaa-4bc6-4644-8edc-0ecdded28594" providerId="ADAL" clId="{AEC8F169-53EF-477E-AA87-6479700505CB}" dt="2021-03-26T11:23:14.967" v="1558" actId="26606"/>
          <ac:graphicFrameMkLst>
            <pc:docMk/>
            <pc:sldMk cId="1480198139" sldId="909"/>
            <ac:graphicFrameMk id="4" creationId="{87A75930-C904-4BA5-8DC2-25CEE7078240}"/>
          </ac:graphicFrameMkLst>
        </pc:graphicFrameChg>
        <pc:graphicFrameChg chg="del mod modGraphic">
          <ac:chgData name="christophe CHUECOS-FONT" userId="7e57acaa-4bc6-4644-8edc-0ecdded28594" providerId="ADAL" clId="{AEC8F169-53EF-477E-AA87-6479700505CB}" dt="2021-03-26T11:14:54.180" v="1437" actId="21"/>
          <ac:graphicFrameMkLst>
            <pc:docMk/>
            <pc:sldMk cId="1480198139" sldId="909"/>
            <ac:graphicFrameMk id="13" creationId="{6EB9F717-B5A8-4A5D-B160-A8BE78AE15BF}"/>
          </ac:graphicFrameMkLst>
        </pc:graphicFrameChg>
      </pc:sldChg>
      <pc:sldChg chg="modSp mod">
        <pc:chgData name="christophe CHUECOS-FONT" userId="7e57acaa-4bc6-4644-8edc-0ecdded28594" providerId="ADAL" clId="{AEC8F169-53EF-477E-AA87-6479700505CB}" dt="2021-03-26T11:15:35.319" v="1442" actId="20577"/>
        <pc:sldMkLst>
          <pc:docMk/>
          <pc:sldMk cId="4043781952" sldId="910"/>
        </pc:sldMkLst>
        <pc:spChg chg="mod">
          <ac:chgData name="christophe CHUECOS-FONT" userId="7e57acaa-4bc6-4644-8edc-0ecdded28594" providerId="ADAL" clId="{AEC8F169-53EF-477E-AA87-6479700505CB}" dt="2021-03-26T11:15:35.319" v="1442" actId="20577"/>
          <ac:spMkLst>
            <pc:docMk/>
            <pc:sldMk cId="4043781952" sldId="910"/>
            <ac:spMk id="5" creationId="{DFEA2082-E7DE-4453-8158-54F380B94285}"/>
          </ac:spMkLst>
        </pc:spChg>
      </pc:sldChg>
      <pc:sldChg chg="modSp add mod ord">
        <pc:chgData name="christophe CHUECOS-FONT" userId="7e57acaa-4bc6-4644-8edc-0ecdded28594" providerId="ADAL" clId="{AEC8F169-53EF-477E-AA87-6479700505CB}" dt="2021-03-24T15:52:25.952" v="98" actId="6549"/>
        <pc:sldMkLst>
          <pc:docMk/>
          <pc:sldMk cId="3315866881" sldId="911"/>
        </pc:sldMkLst>
        <pc:spChg chg="mod">
          <ac:chgData name="christophe CHUECOS-FONT" userId="7e57acaa-4bc6-4644-8edc-0ecdded28594" providerId="ADAL" clId="{AEC8F169-53EF-477E-AA87-6479700505CB}" dt="2021-03-24T15:52:25.952" v="98" actId="6549"/>
          <ac:spMkLst>
            <pc:docMk/>
            <pc:sldMk cId="3315866881" sldId="911"/>
            <ac:spMk id="5" creationId="{DFEA2082-E7DE-4453-8158-54F380B94285}"/>
          </ac:spMkLst>
        </pc:spChg>
      </pc:sldChg>
      <pc:sldChg chg="modSp add mod">
        <pc:chgData name="christophe CHUECOS-FONT" userId="7e57acaa-4bc6-4644-8edc-0ecdded28594" providerId="ADAL" clId="{AEC8F169-53EF-477E-AA87-6479700505CB}" dt="2021-03-24T18:03:07.184" v="1083" actId="20577"/>
        <pc:sldMkLst>
          <pc:docMk/>
          <pc:sldMk cId="1509860493" sldId="912"/>
        </pc:sldMkLst>
        <pc:spChg chg="mod">
          <ac:chgData name="christophe CHUECOS-FONT" userId="7e57acaa-4bc6-4644-8edc-0ecdded28594" providerId="ADAL" clId="{AEC8F169-53EF-477E-AA87-6479700505CB}" dt="2021-03-24T17:58:17.955" v="784" actId="20577"/>
          <ac:spMkLst>
            <pc:docMk/>
            <pc:sldMk cId="1509860493" sldId="912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AEC8F169-53EF-477E-AA87-6479700505CB}" dt="2021-03-24T18:03:07.184" v="1083" actId="20577"/>
          <ac:spMkLst>
            <pc:docMk/>
            <pc:sldMk cId="1509860493" sldId="912"/>
            <ac:spMk id="3" creationId="{9FA71A85-160A-4CFF-9241-BA71D421B86B}"/>
          </ac:spMkLst>
        </pc:spChg>
      </pc:sldChg>
      <pc:sldChg chg="add del ord">
        <pc:chgData name="christophe CHUECOS-FONT" userId="7e57acaa-4bc6-4644-8edc-0ecdded28594" providerId="ADAL" clId="{AEC8F169-53EF-477E-AA87-6479700505CB}" dt="2021-03-24T15:55:57.538" v="133" actId="47"/>
        <pc:sldMkLst>
          <pc:docMk/>
          <pc:sldMk cId="2649786644" sldId="912"/>
        </pc:sldMkLst>
      </pc:sldChg>
      <pc:sldChg chg="addSp delSp modSp new mod ord">
        <pc:chgData name="christophe CHUECOS-FONT" userId="7e57acaa-4bc6-4644-8edc-0ecdded28594" providerId="ADAL" clId="{AEC8F169-53EF-477E-AA87-6479700505CB}" dt="2021-03-26T12:10:21.250" v="2000"/>
        <pc:sldMkLst>
          <pc:docMk/>
          <pc:sldMk cId="959441881" sldId="913"/>
        </pc:sldMkLst>
        <pc:spChg chg="del">
          <ac:chgData name="christophe CHUECOS-FONT" userId="7e57acaa-4bc6-4644-8edc-0ecdded28594" providerId="ADAL" clId="{AEC8F169-53EF-477E-AA87-6479700505CB}" dt="2021-03-24T16:06:12.494" v="576" actId="21"/>
          <ac:spMkLst>
            <pc:docMk/>
            <pc:sldMk cId="959441881" sldId="913"/>
            <ac:spMk id="2" creationId="{C24A9760-766E-474B-9BCD-8672980309A5}"/>
          </ac:spMkLst>
        </pc:spChg>
        <pc:spChg chg="del">
          <ac:chgData name="christophe CHUECOS-FONT" userId="7e57acaa-4bc6-4644-8edc-0ecdded28594" providerId="ADAL" clId="{AEC8F169-53EF-477E-AA87-6479700505CB}" dt="2021-03-24T16:06:21.248" v="577"/>
          <ac:spMkLst>
            <pc:docMk/>
            <pc:sldMk cId="959441881" sldId="913"/>
            <ac:spMk id="3" creationId="{53152A8F-D783-49B8-963B-862BC02C8978}"/>
          </ac:spMkLst>
        </pc:spChg>
        <pc:spChg chg="add del mod">
          <ac:chgData name="christophe CHUECOS-FONT" userId="7e57acaa-4bc6-4644-8edc-0ecdded28594" providerId="ADAL" clId="{AEC8F169-53EF-477E-AA87-6479700505CB}" dt="2021-03-24T16:24:58.629" v="588" actId="21"/>
          <ac:spMkLst>
            <pc:docMk/>
            <pc:sldMk cId="959441881" sldId="913"/>
            <ac:spMk id="6" creationId="{B32834A5-4CF3-4679-BF67-C824754CCFED}"/>
          </ac:spMkLst>
        </pc:spChg>
        <pc:graphicFrameChg chg="add del mod modGraphic">
          <ac:chgData name="christophe CHUECOS-FONT" userId="7e57acaa-4bc6-4644-8edc-0ecdded28594" providerId="ADAL" clId="{AEC8F169-53EF-477E-AA87-6479700505CB}" dt="2021-03-24T16:06:55.773" v="586"/>
          <ac:graphicFrameMkLst>
            <pc:docMk/>
            <pc:sldMk cId="959441881" sldId="913"/>
            <ac:graphicFrameMk id="7" creationId="{1FE6527B-2F07-467E-B6A6-E03766F069E7}"/>
          </ac:graphicFrameMkLst>
        </pc:graphicFrameChg>
        <pc:graphicFrameChg chg="add mod">
          <ac:chgData name="christophe CHUECOS-FONT" userId="7e57acaa-4bc6-4644-8edc-0ecdded28594" providerId="ADAL" clId="{AEC8F169-53EF-477E-AA87-6479700505CB}" dt="2021-03-24T16:25:13.862" v="591" actId="14100"/>
          <ac:graphicFrameMkLst>
            <pc:docMk/>
            <pc:sldMk cId="959441881" sldId="913"/>
            <ac:graphicFrameMk id="8" creationId="{03549B7A-066D-4011-88EB-5129437E0AC2}"/>
          </ac:graphicFrameMkLst>
        </pc:graphicFrameChg>
        <pc:picChg chg="add del mod">
          <ac:chgData name="christophe CHUECOS-FONT" userId="7e57acaa-4bc6-4644-8edc-0ecdded28594" providerId="ADAL" clId="{AEC8F169-53EF-477E-AA87-6479700505CB}" dt="2021-03-24T16:06:29.730" v="580" actId="21"/>
          <ac:picMkLst>
            <pc:docMk/>
            <pc:sldMk cId="959441881" sldId="913"/>
            <ac:picMk id="4" creationId="{FC563A73-BB60-4873-AD33-C25DE48C7F44}"/>
          </ac:picMkLst>
        </pc:picChg>
      </pc:sldChg>
      <pc:sldChg chg="addSp delSp modSp add mod ord">
        <pc:chgData name="christophe CHUECOS-FONT" userId="7e57acaa-4bc6-4644-8edc-0ecdded28594" providerId="ADAL" clId="{AEC8F169-53EF-477E-AA87-6479700505CB}" dt="2021-03-26T12:10:28.736" v="2002"/>
        <pc:sldMkLst>
          <pc:docMk/>
          <pc:sldMk cId="3118954032" sldId="914"/>
        </pc:sldMkLst>
        <pc:graphicFrameChg chg="add del mod modGraphic">
          <ac:chgData name="christophe CHUECOS-FONT" userId="7e57acaa-4bc6-4644-8edc-0ecdded28594" providerId="ADAL" clId="{AEC8F169-53EF-477E-AA87-6479700505CB}" dt="2021-03-24T16:25:58.313" v="597" actId="478"/>
          <ac:graphicFrameMkLst>
            <pc:docMk/>
            <pc:sldMk cId="3118954032" sldId="914"/>
            <ac:graphicFrameMk id="2" creationId="{D8AE8A75-7E51-417A-AB6C-DCF0F250C68E}"/>
          </ac:graphicFrameMkLst>
        </pc:graphicFrameChg>
        <pc:graphicFrameChg chg="add mod">
          <ac:chgData name="christophe CHUECOS-FONT" userId="7e57acaa-4bc6-4644-8edc-0ecdded28594" providerId="ADAL" clId="{AEC8F169-53EF-477E-AA87-6479700505CB}" dt="2021-03-24T16:26:14.922" v="600" actId="14100"/>
          <ac:graphicFrameMkLst>
            <pc:docMk/>
            <pc:sldMk cId="3118954032" sldId="914"/>
            <ac:graphicFrameMk id="3" creationId="{D1BABF3C-2D4C-44EE-953C-2D26242FA087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4T16:25:50.207" v="594" actId="478"/>
          <ac:graphicFrameMkLst>
            <pc:docMk/>
            <pc:sldMk cId="3118954032" sldId="914"/>
            <ac:graphicFrameMk id="8" creationId="{03549B7A-066D-4011-88EB-5129437E0AC2}"/>
          </ac:graphicFrameMkLst>
        </pc:graphicFrameChg>
      </pc:sldChg>
      <pc:sldChg chg="addSp delSp modSp add mod ord">
        <pc:chgData name="christophe CHUECOS-FONT" userId="7e57acaa-4bc6-4644-8edc-0ecdded28594" providerId="ADAL" clId="{AEC8F169-53EF-477E-AA87-6479700505CB}" dt="2021-03-26T12:10:33.787" v="2004"/>
        <pc:sldMkLst>
          <pc:docMk/>
          <pc:sldMk cId="3283168960" sldId="915"/>
        </pc:sldMkLst>
        <pc:graphicFrameChg chg="add mod">
          <ac:chgData name="christophe CHUECOS-FONT" userId="7e57acaa-4bc6-4644-8edc-0ecdded28594" providerId="ADAL" clId="{AEC8F169-53EF-477E-AA87-6479700505CB}" dt="2021-03-24T16:26:59.733" v="605" actId="14100"/>
          <ac:graphicFrameMkLst>
            <pc:docMk/>
            <pc:sldMk cId="3283168960" sldId="915"/>
            <ac:graphicFrameMk id="2" creationId="{26A5003C-883F-46D1-92B2-A39F7110646C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4T16:26:25.754" v="602" actId="478"/>
          <ac:graphicFrameMkLst>
            <pc:docMk/>
            <pc:sldMk cId="3283168960" sldId="915"/>
            <ac:graphicFrameMk id="3" creationId="{D1BABF3C-2D4C-44EE-953C-2D26242FA087}"/>
          </ac:graphicFrameMkLst>
        </pc:graphicFrameChg>
      </pc:sldChg>
      <pc:sldChg chg="addSp modSp add mod ord">
        <pc:chgData name="christophe CHUECOS-FONT" userId="7e57acaa-4bc6-4644-8edc-0ecdded28594" providerId="ADAL" clId="{AEC8F169-53EF-477E-AA87-6479700505CB}" dt="2021-03-24T17:53:31.703" v="627" actId="5793"/>
        <pc:sldMkLst>
          <pc:docMk/>
          <pc:sldMk cId="615629420" sldId="916"/>
        </pc:sldMkLst>
        <pc:spChg chg="mod">
          <ac:chgData name="christophe CHUECOS-FONT" userId="7e57acaa-4bc6-4644-8edc-0ecdded28594" providerId="ADAL" clId="{AEC8F169-53EF-477E-AA87-6479700505CB}" dt="2021-03-24T17:53:31.703" v="627" actId="5793"/>
          <ac:spMkLst>
            <pc:docMk/>
            <pc:sldMk cId="615629420" sldId="916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AEC8F169-53EF-477E-AA87-6479700505CB}" dt="2021-03-24T16:33:22.646" v="613" actId="6549"/>
          <ac:spMkLst>
            <pc:docMk/>
            <pc:sldMk cId="615629420" sldId="916"/>
            <ac:spMk id="3" creationId="{9FA71A85-160A-4CFF-9241-BA71D421B86B}"/>
          </ac:spMkLst>
        </pc:spChg>
        <pc:graphicFrameChg chg="add mod modGraphic">
          <ac:chgData name="christophe CHUECOS-FONT" userId="7e57acaa-4bc6-4644-8edc-0ecdded28594" providerId="ADAL" clId="{AEC8F169-53EF-477E-AA87-6479700505CB}" dt="2021-03-24T17:53:23.531" v="619" actId="12385"/>
          <ac:graphicFrameMkLst>
            <pc:docMk/>
            <pc:sldMk cId="615629420" sldId="916"/>
            <ac:graphicFrameMk id="4" creationId="{8B7C3765-CF61-4673-9715-52D9DB708ADA}"/>
          </ac:graphicFrameMkLst>
        </pc:graphicFrameChg>
      </pc:sldChg>
      <pc:sldChg chg="modSp add mod">
        <pc:chgData name="christophe CHUECOS-FONT" userId="7e57acaa-4bc6-4644-8edc-0ecdded28594" providerId="ADAL" clId="{AEC8F169-53EF-477E-AA87-6479700505CB}" dt="2021-03-24T18:02:55.805" v="1080" actId="20577"/>
        <pc:sldMkLst>
          <pc:docMk/>
          <pc:sldMk cId="2574895675" sldId="917"/>
        </pc:sldMkLst>
        <pc:spChg chg="mod">
          <ac:chgData name="christophe CHUECOS-FONT" userId="7e57acaa-4bc6-4644-8edc-0ecdded28594" providerId="ADAL" clId="{AEC8F169-53EF-477E-AA87-6479700505CB}" dt="2021-03-24T18:02:55.805" v="1080" actId="20577"/>
          <ac:spMkLst>
            <pc:docMk/>
            <pc:sldMk cId="2574895675" sldId="917"/>
            <ac:spMk id="2" creationId="{AEFCB68E-E041-4E46-A233-3C2208DA32CB}"/>
          </ac:spMkLst>
        </pc:spChg>
        <pc:graphicFrameChg chg="mod modGraphic">
          <ac:chgData name="christophe CHUECOS-FONT" userId="7e57acaa-4bc6-4644-8edc-0ecdded28594" providerId="ADAL" clId="{AEC8F169-53EF-477E-AA87-6479700505CB}" dt="2021-03-24T17:56:15.455" v="719" actId="20577"/>
          <ac:graphicFrameMkLst>
            <pc:docMk/>
            <pc:sldMk cId="2574895675" sldId="917"/>
            <ac:graphicFrameMk id="4" creationId="{8B7C3765-CF61-4673-9715-52D9DB708ADA}"/>
          </ac:graphicFrameMkLst>
        </pc:graphicFrameChg>
      </pc:sldChg>
      <pc:sldChg chg="modSp add mod">
        <pc:chgData name="christophe CHUECOS-FONT" userId="7e57acaa-4bc6-4644-8edc-0ecdded28594" providerId="ADAL" clId="{AEC8F169-53EF-477E-AA87-6479700505CB}" dt="2021-03-24T18:03:02.687" v="1082" actId="20577"/>
        <pc:sldMkLst>
          <pc:docMk/>
          <pc:sldMk cId="3194066504" sldId="918"/>
        </pc:sldMkLst>
        <pc:spChg chg="mod">
          <ac:chgData name="christophe CHUECOS-FONT" userId="7e57acaa-4bc6-4644-8edc-0ecdded28594" providerId="ADAL" clId="{AEC8F169-53EF-477E-AA87-6479700505CB}" dt="2021-03-24T17:56:46.294" v="725" actId="14100"/>
          <ac:spMkLst>
            <pc:docMk/>
            <pc:sldMk cId="3194066504" sldId="918"/>
            <ac:spMk id="2" creationId="{AEFCB68E-E041-4E46-A233-3C2208DA32CB}"/>
          </ac:spMkLst>
        </pc:spChg>
        <pc:graphicFrameChg chg="mod modGraphic">
          <ac:chgData name="christophe CHUECOS-FONT" userId="7e57acaa-4bc6-4644-8edc-0ecdded28594" providerId="ADAL" clId="{AEC8F169-53EF-477E-AA87-6479700505CB}" dt="2021-03-24T18:03:02.687" v="1082" actId="20577"/>
          <ac:graphicFrameMkLst>
            <pc:docMk/>
            <pc:sldMk cId="3194066504" sldId="918"/>
            <ac:graphicFrameMk id="4" creationId="{8B7C3765-CF61-4673-9715-52D9DB708ADA}"/>
          </ac:graphicFrameMkLst>
        </pc:graphicFrameChg>
      </pc:sldChg>
      <pc:sldChg chg="modSp add mod ord">
        <pc:chgData name="christophe CHUECOS-FONT" userId="7e57acaa-4bc6-4644-8edc-0ecdded28594" providerId="ADAL" clId="{AEC8F169-53EF-477E-AA87-6479700505CB}" dt="2021-03-24T18:03:26.725" v="1099" actId="20577"/>
        <pc:sldMkLst>
          <pc:docMk/>
          <pc:sldMk cId="2190585729" sldId="919"/>
        </pc:sldMkLst>
        <pc:spChg chg="mod">
          <ac:chgData name="christophe CHUECOS-FONT" userId="7e57acaa-4bc6-4644-8edc-0ecdded28594" providerId="ADAL" clId="{AEC8F169-53EF-477E-AA87-6479700505CB}" dt="2021-03-24T18:03:17.186" v="1092" actId="6549"/>
          <ac:spMkLst>
            <pc:docMk/>
            <pc:sldMk cId="2190585729" sldId="919"/>
            <ac:spMk id="2" creationId="{AEFCB68E-E041-4E46-A233-3C2208DA32CB}"/>
          </ac:spMkLst>
        </pc:spChg>
        <pc:graphicFrameChg chg="modGraphic">
          <ac:chgData name="christophe CHUECOS-FONT" userId="7e57acaa-4bc6-4644-8edc-0ecdded28594" providerId="ADAL" clId="{AEC8F169-53EF-477E-AA87-6479700505CB}" dt="2021-03-24T18:03:26.725" v="1099" actId="20577"/>
          <ac:graphicFrameMkLst>
            <pc:docMk/>
            <pc:sldMk cId="2190585729" sldId="919"/>
            <ac:graphicFrameMk id="4" creationId="{8B7C3765-CF61-4673-9715-52D9DB708ADA}"/>
          </ac:graphicFrameMkLst>
        </pc:graphicFrameChg>
      </pc:sldChg>
      <pc:sldChg chg="modSp add mod ord">
        <pc:chgData name="christophe CHUECOS-FONT" userId="7e57acaa-4bc6-4644-8edc-0ecdded28594" providerId="ADAL" clId="{AEC8F169-53EF-477E-AA87-6479700505CB}" dt="2021-03-24T18:04:11.729" v="1146" actId="20577"/>
        <pc:sldMkLst>
          <pc:docMk/>
          <pc:sldMk cId="104529388" sldId="920"/>
        </pc:sldMkLst>
        <pc:spChg chg="mod">
          <ac:chgData name="christophe CHUECOS-FONT" userId="7e57acaa-4bc6-4644-8edc-0ecdded28594" providerId="ADAL" clId="{AEC8F169-53EF-477E-AA87-6479700505CB}" dt="2021-03-24T18:02:50.282" v="1079" actId="27636"/>
          <ac:spMkLst>
            <pc:docMk/>
            <pc:sldMk cId="104529388" sldId="920"/>
            <ac:spMk id="2" creationId="{AEFCB68E-E041-4E46-A233-3C2208DA32CB}"/>
          </ac:spMkLst>
        </pc:spChg>
        <pc:graphicFrameChg chg="modGraphic">
          <ac:chgData name="christophe CHUECOS-FONT" userId="7e57acaa-4bc6-4644-8edc-0ecdded28594" providerId="ADAL" clId="{AEC8F169-53EF-477E-AA87-6479700505CB}" dt="2021-03-24T18:04:11.729" v="1146" actId="20577"/>
          <ac:graphicFrameMkLst>
            <pc:docMk/>
            <pc:sldMk cId="104529388" sldId="920"/>
            <ac:graphicFrameMk id="4" creationId="{8B7C3765-CF61-4673-9715-52D9DB708ADA}"/>
          </ac:graphicFrameMkLst>
        </pc:graphicFrameChg>
      </pc:sldChg>
      <pc:sldChg chg="modSp add mod ord">
        <pc:chgData name="christophe CHUECOS-FONT" userId="7e57acaa-4bc6-4644-8edc-0ecdded28594" providerId="ADAL" clId="{AEC8F169-53EF-477E-AA87-6479700505CB}" dt="2021-03-24T18:05:47.650" v="1291" actId="20577"/>
        <pc:sldMkLst>
          <pc:docMk/>
          <pc:sldMk cId="1524639244" sldId="921"/>
        </pc:sldMkLst>
        <pc:spChg chg="mod">
          <ac:chgData name="christophe CHUECOS-FONT" userId="7e57acaa-4bc6-4644-8edc-0ecdded28594" providerId="ADAL" clId="{AEC8F169-53EF-477E-AA87-6479700505CB}" dt="2021-03-24T18:05:47.650" v="1291" actId="20577"/>
          <ac:spMkLst>
            <pc:docMk/>
            <pc:sldMk cId="1524639244" sldId="921"/>
            <ac:spMk id="3" creationId="{9FA71A85-160A-4CFF-9241-BA71D421B86B}"/>
          </ac:spMkLst>
        </pc:spChg>
      </pc:sldChg>
      <pc:sldChg chg="addSp delSp modSp add mod ord setBg">
        <pc:chgData name="christophe CHUECOS-FONT" userId="7e57acaa-4bc6-4644-8edc-0ecdded28594" providerId="ADAL" clId="{AEC8F169-53EF-477E-AA87-6479700505CB}" dt="2021-03-26T11:24:42.452" v="1571" actId="26606"/>
        <pc:sldMkLst>
          <pc:docMk/>
          <pc:sldMk cId="1716390056" sldId="922"/>
        </pc:sldMkLst>
        <pc:spChg chg="mod">
          <ac:chgData name="christophe CHUECOS-FONT" userId="7e57acaa-4bc6-4644-8edc-0ecdded28594" providerId="ADAL" clId="{AEC8F169-53EF-477E-AA87-6479700505CB}" dt="2021-03-26T11:24:42.452" v="1571" actId="26606"/>
          <ac:spMkLst>
            <pc:docMk/>
            <pc:sldMk cId="1716390056" sldId="922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AEC8F169-53EF-477E-AA87-6479700505CB}" dt="2021-03-26T11:13:44.225" v="1358"/>
          <ac:spMkLst>
            <pc:docMk/>
            <pc:sldMk cId="1716390056" sldId="922"/>
            <ac:spMk id="4" creationId="{0D0175D9-7734-4988-9225-21F35DEF1E20}"/>
          </ac:spMkLst>
        </pc:spChg>
        <pc:spChg chg="add">
          <ac:chgData name="christophe CHUECOS-FONT" userId="7e57acaa-4bc6-4644-8edc-0ecdded28594" providerId="ADAL" clId="{AEC8F169-53EF-477E-AA87-6479700505CB}" dt="2021-03-26T11:24:42.452" v="1571" actId="26606"/>
          <ac:spMkLst>
            <pc:docMk/>
            <pc:sldMk cId="1716390056" sldId="922"/>
            <ac:spMk id="7" creationId="{D12DDE76-C203-4047-9998-63900085B5E8}"/>
          </ac:spMkLst>
        </pc:spChg>
        <pc:spChg chg="add del">
          <ac:chgData name="christophe CHUECOS-FONT" userId="7e57acaa-4bc6-4644-8edc-0ecdded28594" providerId="ADAL" clId="{AEC8F169-53EF-477E-AA87-6479700505CB}" dt="2021-03-26T11:24:18.664" v="1568" actId="26606"/>
          <ac:spMkLst>
            <pc:docMk/>
            <pc:sldMk cId="1716390056" sldId="922"/>
            <ac:spMk id="10" creationId="{96918796-2918-40D6-BE3A-4600C47FCD42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1:24:42.452" v="1571" actId="26606"/>
          <ac:graphicFrameMkLst>
            <pc:docMk/>
            <pc:sldMk cId="1716390056" sldId="922"/>
            <ac:graphicFrameMk id="5" creationId="{9BF48972-D5B8-45E7-B42C-BD25881C0337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1:13:41.281" v="1357" actId="478"/>
          <ac:graphicFrameMkLst>
            <pc:docMk/>
            <pc:sldMk cId="1716390056" sldId="922"/>
            <ac:graphicFrameMk id="9" creationId="{28197CF5-4A66-4B20-AD59-453DC110C409}"/>
          </ac:graphicFrameMkLst>
        </pc:graphicFrameChg>
      </pc:sldChg>
      <pc:sldChg chg="addSp modSp add mod">
        <pc:chgData name="christophe CHUECOS-FONT" userId="7e57acaa-4bc6-4644-8edc-0ecdded28594" providerId="ADAL" clId="{AEC8F169-53EF-477E-AA87-6479700505CB}" dt="2021-03-26T12:04:33.974" v="1951" actId="14100"/>
        <pc:sldMkLst>
          <pc:docMk/>
          <pc:sldMk cId="1401124455" sldId="923"/>
        </pc:sldMkLst>
        <pc:spChg chg="mod">
          <ac:chgData name="christophe CHUECOS-FONT" userId="7e57acaa-4bc6-4644-8edc-0ecdded28594" providerId="ADAL" clId="{AEC8F169-53EF-477E-AA87-6479700505CB}" dt="2021-03-26T12:03:43.077" v="1944" actId="20577"/>
          <ac:spMkLst>
            <pc:docMk/>
            <pc:sldMk cId="1401124455" sldId="923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AEC8F169-53EF-477E-AA87-6479700505CB}" dt="2021-03-26T12:04:33.974" v="1951" actId="14100"/>
          <ac:spMkLst>
            <pc:docMk/>
            <pc:sldMk cId="1401124455" sldId="923"/>
            <ac:spMk id="3" creationId="{9FA71A85-160A-4CFF-9241-BA71D421B86B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2:03:38.372" v="1938" actId="14100"/>
          <ac:graphicFrameMkLst>
            <pc:docMk/>
            <pc:sldMk cId="1401124455" sldId="923"/>
            <ac:graphicFrameMk id="4" creationId="{EF0C9E3E-CA63-4010-B8D8-7587302885EA}"/>
          </ac:graphicFrameMkLst>
        </pc:graphicFrameChg>
      </pc:sldChg>
      <pc:sldChg chg="addSp delSp modSp add mod ord">
        <pc:chgData name="christophe CHUECOS-FONT" userId="7e57acaa-4bc6-4644-8edc-0ecdded28594" providerId="ADAL" clId="{AEC8F169-53EF-477E-AA87-6479700505CB}" dt="2021-03-26T11:18:11.596" v="1477" actId="20577"/>
        <pc:sldMkLst>
          <pc:docMk/>
          <pc:sldMk cId="3048182326" sldId="924"/>
        </pc:sldMkLst>
        <pc:spChg chg="mod">
          <ac:chgData name="christophe CHUECOS-FONT" userId="7e57acaa-4bc6-4644-8edc-0ecdded28594" providerId="ADAL" clId="{AEC8F169-53EF-477E-AA87-6479700505CB}" dt="2021-03-26T11:18:11.596" v="1477" actId="20577"/>
          <ac:spMkLst>
            <pc:docMk/>
            <pc:sldMk cId="3048182326" sldId="924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AEC8F169-53EF-477E-AA87-6479700505CB}" dt="2021-03-26T11:16:56.407" v="1448"/>
          <ac:spMkLst>
            <pc:docMk/>
            <pc:sldMk cId="3048182326" sldId="924"/>
            <ac:spMk id="4" creationId="{4435F714-6ED2-4F30-BDE3-781432B3A9B5}"/>
          </ac:spMkLst>
        </pc:spChg>
        <pc:graphicFrameChg chg="del mod modGraphic">
          <ac:chgData name="christophe CHUECOS-FONT" userId="7e57acaa-4bc6-4644-8edc-0ecdded28594" providerId="ADAL" clId="{AEC8F169-53EF-477E-AA87-6479700505CB}" dt="2021-03-26T11:16:43.538" v="1447" actId="21"/>
          <ac:graphicFrameMkLst>
            <pc:docMk/>
            <pc:sldMk cId="3048182326" sldId="924"/>
            <ac:graphicFrameMk id="5" creationId="{9BF48972-D5B8-45E7-B42C-BD25881C0337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17:47.859" v="1463" actId="14100"/>
          <ac:graphicFrameMkLst>
            <pc:docMk/>
            <pc:sldMk cId="3048182326" sldId="924"/>
            <ac:graphicFrameMk id="6" creationId="{F2815B00-360C-44B8-B762-E288FAA7878C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17:56.258" v="1466" actId="14100"/>
          <ac:graphicFrameMkLst>
            <pc:docMk/>
            <pc:sldMk cId="3048182326" sldId="924"/>
            <ac:graphicFrameMk id="7" creationId="{7D46C06A-F446-4379-B147-3AA7F8596C61}"/>
          </ac:graphicFrameMkLst>
        </pc:graphicFrameChg>
      </pc:sldChg>
      <pc:sldChg chg="addSp delSp modSp add mod">
        <pc:chgData name="christophe CHUECOS-FONT" userId="7e57acaa-4bc6-4644-8edc-0ecdded28594" providerId="ADAL" clId="{AEC8F169-53EF-477E-AA87-6479700505CB}" dt="2021-03-26T11:22:03.450" v="1530" actId="20577"/>
        <pc:sldMkLst>
          <pc:docMk/>
          <pc:sldMk cId="365847107" sldId="925"/>
        </pc:sldMkLst>
        <pc:spChg chg="mod">
          <ac:chgData name="christophe CHUECOS-FONT" userId="7e57acaa-4bc6-4644-8edc-0ecdded28594" providerId="ADAL" clId="{AEC8F169-53EF-477E-AA87-6479700505CB}" dt="2021-03-26T11:22:03.450" v="1530" actId="20577"/>
          <ac:spMkLst>
            <pc:docMk/>
            <pc:sldMk cId="365847107" sldId="925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AEC8F169-53EF-477E-AA87-6479700505CB}" dt="2021-03-26T11:19:02.923" v="1483"/>
          <ac:spMkLst>
            <pc:docMk/>
            <pc:sldMk cId="365847107" sldId="925"/>
            <ac:spMk id="4" creationId="{8B00AF06-D371-4FA6-AD77-63B81C61085F}"/>
          </ac:spMkLst>
        </pc:spChg>
        <pc:spChg chg="add mod">
          <ac:chgData name="christophe CHUECOS-FONT" userId="7e57acaa-4bc6-4644-8edc-0ecdded28594" providerId="ADAL" clId="{AEC8F169-53EF-477E-AA87-6479700505CB}" dt="2021-03-26T11:21:50.747" v="1510" actId="1076"/>
          <ac:spMkLst>
            <pc:docMk/>
            <pc:sldMk cId="365847107" sldId="925"/>
            <ac:spMk id="11" creationId="{0CD87A97-CB5C-4428-866E-41CD9018796B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1:20:29.753" v="1508" actId="14100"/>
          <ac:graphicFrameMkLst>
            <pc:docMk/>
            <pc:sldMk cId="365847107" sldId="925"/>
            <ac:graphicFrameMk id="5" creationId="{E3D353A5-D217-4E5D-9E6B-6FBB1EE8BFA3}"/>
          </ac:graphicFrameMkLst>
        </pc:graphicFrameChg>
        <pc:graphicFrameChg chg="del modGraphic">
          <ac:chgData name="christophe CHUECOS-FONT" userId="7e57acaa-4bc6-4644-8edc-0ecdded28594" providerId="ADAL" clId="{AEC8F169-53EF-477E-AA87-6479700505CB}" dt="2021-03-26T11:18:50.814" v="1481" actId="21"/>
          <ac:graphicFrameMkLst>
            <pc:docMk/>
            <pc:sldMk cId="365847107" sldId="925"/>
            <ac:graphicFrameMk id="6" creationId="{F2815B00-360C-44B8-B762-E288FAA7878C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1:18:55.387" v="1482" actId="21"/>
          <ac:graphicFrameMkLst>
            <pc:docMk/>
            <pc:sldMk cId="365847107" sldId="925"/>
            <ac:graphicFrameMk id="7" creationId="{7D46C06A-F446-4379-B147-3AA7F8596C61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20:13.913" v="1506" actId="1076"/>
          <ac:graphicFrameMkLst>
            <pc:docMk/>
            <pc:sldMk cId="365847107" sldId="925"/>
            <ac:graphicFrameMk id="8" creationId="{E85F6702-FDE4-47A0-9113-8DC4311CF553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20:18.473" v="1507" actId="1076"/>
          <ac:graphicFrameMkLst>
            <pc:docMk/>
            <pc:sldMk cId="365847107" sldId="925"/>
            <ac:graphicFrameMk id="9" creationId="{39C88741-5267-4FA2-AA52-932B0634D138}"/>
          </ac:graphicFrameMkLst>
        </pc:graphicFrameChg>
      </pc:sldChg>
      <pc:sldChg chg="addSp delSp modSp add mod ord">
        <pc:chgData name="christophe CHUECOS-FONT" userId="7e57acaa-4bc6-4644-8edc-0ecdded28594" providerId="ADAL" clId="{AEC8F169-53EF-477E-AA87-6479700505CB}" dt="2021-03-26T11:27:34.749" v="1636" actId="255"/>
        <pc:sldMkLst>
          <pc:docMk/>
          <pc:sldMk cId="4193262036" sldId="926"/>
        </pc:sldMkLst>
        <pc:spChg chg="add del">
          <ac:chgData name="christophe CHUECOS-FONT" userId="7e57acaa-4bc6-4644-8edc-0ecdded28594" providerId="ADAL" clId="{AEC8F169-53EF-477E-AA87-6479700505CB}" dt="2021-03-26T11:25:07.375" v="1573" actId="22"/>
          <ac:spMkLst>
            <pc:docMk/>
            <pc:sldMk cId="4193262036" sldId="926"/>
            <ac:spMk id="5" creationId="{0F487055-DB48-42BC-934E-9648CB72D240}"/>
          </ac:spMkLst>
        </pc:spChg>
        <pc:spChg chg="add del mod">
          <ac:chgData name="christophe CHUECOS-FONT" userId="7e57acaa-4bc6-4644-8edc-0ecdded28594" providerId="ADAL" clId="{AEC8F169-53EF-477E-AA87-6479700505CB}" dt="2021-03-26T11:27:20.087" v="1634" actId="21"/>
          <ac:spMkLst>
            <pc:docMk/>
            <pc:sldMk cId="4193262036" sldId="926"/>
            <ac:spMk id="6" creationId="{372C388E-5506-4B6E-BCE7-09F78BABACA9}"/>
          </ac:spMkLst>
        </pc:spChg>
        <pc:spChg chg="add del mod">
          <ac:chgData name="christophe CHUECOS-FONT" userId="7e57acaa-4bc6-4644-8edc-0ecdded28594" providerId="ADAL" clId="{AEC8F169-53EF-477E-AA87-6479700505CB}" dt="2021-03-26T11:26:26.546" v="1625"/>
          <ac:spMkLst>
            <pc:docMk/>
            <pc:sldMk cId="4193262036" sldId="926"/>
            <ac:spMk id="8" creationId="{91BDBCF7-93FA-41A1-81B1-F8C1C25EFC28}"/>
          </ac:spMkLst>
        </pc:spChg>
        <pc:graphicFrameChg chg="del mod modGraphic">
          <ac:chgData name="christophe CHUECOS-FONT" userId="7e57acaa-4bc6-4644-8edc-0ecdded28594" providerId="ADAL" clId="{AEC8F169-53EF-477E-AA87-6479700505CB}" dt="2021-03-26T11:26:09.916" v="1624" actId="21"/>
          <ac:graphicFrameMkLst>
            <pc:docMk/>
            <pc:sldMk cId="4193262036" sldId="926"/>
            <ac:graphicFrameMk id="4" creationId="{87A75930-C904-4BA5-8DC2-25CEE7078240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27:34.749" v="1636" actId="255"/>
          <ac:graphicFrameMkLst>
            <pc:docMk/>
            <pc:sldMk cId="4193262036" sldId="926"/>
            <ac:graphicFrameMk id="9" creationId="{6435B9A9-5D3A-475B-822D-7D0FAE516D70}"/>
          </ac:graphicFrameMkLst>
        </pc:graphicFrameChg>
      </pc:sldChg>
      <pc:sldChg chg="addSp delSp modSp new mod setBg">
        <pc:chgData name="christophe CHUECOS-FONT" userId="7e57acaa-4bc6-4644-8edc-0ecdded28594" providerId="ADAL" clId="{AEC8F169-53EF-477E-AA87-6479700505CB}" dt="2021-03-26T11:29:51.331" v="1682" actId="20577"/>
        <pc:sldMkLst>
          <pc:docMk/>
          <pc:sldMk cId="792487541" sldId="927"/>
        </pc:sldMkLst>
        <pc:spChg chg="mod">
          <ac:chgData name="christophe CHUECOS-FONT" userId="7e57acaa-4bc6-4644-8edc-0ecdded28594" providerId="ADAL" clId="{AEC8F169-53EF-477E-AA87-6479700505CB}" dt="2021-03-26T11:29:42.474" v="1681" actId="26606"/>
          <ac:spMkLst>
            <pc:docMk/>
            <pc:sldMk cId="792487541" sldId="927"/>
            <ac:spMk id="2" creationId="{AA62327D-CC9C-4792-B7E8-29C31DAC8F00}"/>
          </ac:spMkLst>
        </pc:spChg>
        <pc:spChg chg="del">
          <ac:chgData name="christophe CHUECOS-FONT" userId="7e57acaa-4bc6-4644-8edc-0ecdded28594" providerId="ADAL" clId="{AEC8F169-53EF-477E-AA87-6479700505CB}" dt="2021-03-26T11:27:51.930" v="1638"/>
          <ac:spMkLst>
            <pc:docMk/>
            <pc:sldMk cId="792487541" sldId="927"/>
            <ac:spMk id="3" creationId="{AADDF749-2234-4B13-AD8B-7B6C0F99663D}"/>
          </ac:spMkLst>
        </pc:spChg>
        <pc:spChg chg="add mod">
          <ac:chgData name="christophe CHUECOS-FONT" userId="7e57acaa-4bc6-4644-8edc-0ecdded28594" providerId="ADAL" clId="{AEC8F169-53EF-477E-AA87-6479700505CB}" dt="2021-03-26T11:29:42.474" v="1681" actId="26606"/>
          <ac:spMkLst>
            <pc:docMk/>
            <pc:sldMk cId="792487541" sldId="927"/>
            <ac:spMk id="6" creationId="{279EEEBF-E3F2-440C-8618-5C1FFADB88D0}"/>
          </ac:spMkLst>
        </pc:spChg>
        <pc:spChg chg="add">
          <ac:chgData name="christophe CHUECOS-FONT" userId="7e57acaa-4bc6-4644-8edc-0ecdded28594" providerId="ADAL" clId="{AEC8F169-53EF-477E-AA87-6479700505CB}" dt="2021-03-26T11:29:42.474" v="1681" actId="26606"/>
          <ac:spMkLst>
            <pc:docMk/>
            <pc:sldMk cId="792487541" sldId="927"/>
            <ac:spMk id="11" creationId="{32AEEBC8-9D30-42EF-95F2-386C2653FBF0}"/>
          </ac:spMkLst>
        </pc:spChg>
        <pc:spChg chg="add">
          <ac:chgData name="christophe CHUECOS-FONT" userId="7e57acaa-4bc6-4644-8edc-0ecdded28594" providerId="ADAL" clId="{AEC8F169-53EF-477E-AA87-6479700505CB}" dt="2021-03-26T11:29:42.474" v="1681" actId="26606"/>
          <ac:spMkLst>
            <pc:docMk/>
            <pc:sldMk cId="792487541" sldId="927"/>
            <ac:spMk id="13" creationId="{3529E97A-97C3-40EA-8A04-5C02398D568F}"/>
          </ac:spMkLst>
        </pc:spChg>
        <pc:spChg chg="add">
          <ac:chgData name="christophe CHUECOS-FONT" userId="7e57acaa-4bc6-4644-8edc-0ecdded28594" providerId="ADAL" clId="{AEC8F169-53EF-477E-AA87-6479700505CB}" dt="2021-03-26T11:29:42.474" v="1681" actId="26606"/>
          <ac:spMkLst>
            <pc:docMk/>
            <pc:sldMk cId="792487541" sldId="927"/>
            <ac:spMk id="15" creationId="{59FA8C2E-A5A7-4490-927A-7CD58343EDBB}"/>
          </ac:spMkLst>
        </pc:spChg>
        <pc:graphicFrameChg chg="add mod ord modGraphic">
          <ac:chgData name="christophe CHUECOS-FONT" userId="7e57acaa-4bc6-4644-8edc-0ecdded28594" providerId="ADAL" clId="{AEC8F169-53EF-477E-AA87-6479700505CB}" dt="2021-03-26T11:29:51.331" v="1682" actId="20577"/>
          <ac:graphicFrameMkLst>
            <pc:docMk/>
            <pc:sldMk cId="792487541" sldId="927"/>
            <ac:graphicFrameMk id="4" creationId="{4CE403B7-C723-4D1B-893F-C88CD88819A5}"/>
          </ac:graphicFrameMkLst>
        </pc:graphicFrameChg>
      </pc:sldChg>
      <pc:sldChg chg="modSp add mod ord">
        <pc:chgData name="christophe CHUECOS-FONT" userId="7e57acaa-4bc6-4644-8edc-0ecdded28594" providerId="ADAL" clId="{AEC8F169-53EF-477E-AA87-6479700505CB}" dt="2021-03-26T11:47:26.674" v="1693" actId="20577"/>
        <pc:sldMkLst>
          <pc:docMk/>
          <pc:sldMk cId="1603699342" sldId="928"/>
        </pc:sldMkLst>
        <pc:spChg chg="mod">
          <ac:chgData name="christophe CHUECOS-FONT" userId="7e57acaa-4bc6-4644-8edc-0ecdded28594" providerId="ADAL" clId="{AEC8F169-53EF-477E-AA87-6479700505CB}" dt="2021-03-26T11:47:26.674" v="1693" actId="20577"/>
          <ac:spMkLst>
            <pc:docMk/>
            <pc:sldMk cId="1603699342" sldId="928"/>
            <ac:spMk id="5" creationId="{DFEA2082-E7DE-4453-8158-54F380B94285}"/>
          </ac:spMkLst>
        </pc:spChg>
      </pc:sldChg>
      <pc:sldChg chg="addSp delSp modSp add mod ord">
        <pc:chgData name="christophe CHUECOS-FONT" userId="7e57acaa-4bc6-4644-8edc-0ecdded28594" providerId="ADAL" clId="{AEC8F169-53EF-477E-AA87-6479700505CB}" dt="2021-03-26T11:49:41.533" v="1734" actId="20577"/>
        <pc:sldMkLst>
          <pc:docMk/>
          <pc:sldMk cId="838034858" sldId="929"/>
        </pc:sldMkLst>
        <pc:spChg chg="mod">
          <ac:chgData name="christophe CHUECOS-FONT" userId="7e57acaa-4bc6-4644-8edc-0ecdded28594" providerId="ADAL" clId="{AEC8F169-53EF-477E-AA87-6479700505CB}" dt="2021-03-26T11:49:41.533" v="1734" actId="20577"/>
          <ac:spMkLst>
            <pc:docMk/>
            <pc:sldMk cId="838034858" sldId="929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AEC8F169-53EF-477E-AA87-6479700505CB}" dt="2021-03-26T11:47:53.932" v="1701"/>
          <ac:spMkLst>
            <pc:docMk/>
            <pc:sldMk cId="838034858" sldId="929"/>
            <ac:spMk id="4" creationId="{3133D820-6085-4470-85A7-9B9F5D43FE73}"/>
          </ac:spMkLst>
        </pc:spChg>
        <pc:spChg chg="add mod">
          <ac:chgData name="christophe CHUECOS-FONT" userId="7e57acaa-4bc6-4644-8edc-0ecdded28594" providerId="ADAL" clId="{AEC8F169-53EF-477E-AA87-6479700505CB}" dt="2021-03-26T11:48:46.751" v="1710" actId="255"/>
          <ac:spMkLst>
            <pc:docMk/>
            <pc:sldMk cId="838034858" sldId="929"/>
            <ac:spMk id="9" creationId="{386674B8-23E5-4776-9065-5B640B3F8F6F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1:48:19.924" v="1706" actId="255"/>
          <ac:graphicFrameMkLst>
            <pc:docMk/>
            <pc:sldMk cId="838034858" sldId="929"/>
            <ac:graphicFrameMk id="5" creationId="{45F626AC-1F44-4757-B4FD-077685C39AC0}"/>
          </ac:graphicFrameMkLst>
        </pc:graphicFrameChg>
        <pc:graphicFrameChg chg="del modGraphic">
          <ac:chgData name="christophe CHUECOS-FONT" userId="7e57acaa-4bc6-4644-8edc-0ecdded28594" providerId="ADAL" clId="{AEC8F169-53EF-477E-AA87-6479700505CB}" dt="2021-03-26T11:47:43.455" v="1699" actId="21"/>
          <ac:graphicFrameMkLst>
            <pc:docMk/>
            <pc:sldMk cId="838034858" sldId="929"/>
            <ac:graphicFrameMk id="6" creationId="{F2815B00-360C-44B8-B762-E288FAA7878C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1:47:46.129" v="1700" actId="21"/>
          <ac:graphicFrameMkLst>
            <pc:docMk/>
            <pc:sldMk cId="838034858" sldId="929"/>
            <ac:graphicFrameMk id="7" creationId="{7D46C06A-F446-4379-B147-3AA7F8596C61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49:21.578" v="1715" actId="255"/>
          <ac:graphicFrameMkLst>
            <pc:docMk/>
            <pc:sldMk cId="838034858" sldId="929"/>
            <ac:graphicFrameMk id="10" creationId="{45AFCB1D-0726-4004-BD1A-A1FB07D0A7B7}"/>
          </ac:graphicFrameMkLst>
        </pc:graphicFrameChg>
      </pc:sldChg>
      <pc:sldChg chg="addSp modSp new mod">
        <pc:chgData name="christophe CHUECOS-FONT" userId="7e57acaa-4bc6-4644-8edc-0ecdded28594" providerId="ADAL" clId="{AEC8F169-53EF-477E-AA87-6479700505CB}" dt="2021-03-26T11:50:52.133" v="1764" actId="20577"/>
        <pc:sldMkLst>
          <pc:docMk/>
          <pc:sldMk cId="2778287842" sldId="930"/>
        </pc:sldMkLst>
        <pc:spChg chg="mod">
          <ac:chgData name="christophe CHUECOS-FONT" userId="7e57acaa-4bc6-4644-8edc-0ecdded28594" providerId="ADAL" clId="{AEC8F169-53EF-477E-AA87-6479700505CB}" dt="2021-03-26T11:50:52.133" v="1764" actId="20577"/>
          <ac:spMkLst>
            <pc:docMk/>
            <pc:sldMk cId="2778287842" sldId="930"/>
            <ac:spMk id="2" creationId="{391A997B-66BC-4EE8-AE60-BABCAC88813D}"/>
          </ac:spMkLst>
        </pc:spChg>
        <pc:spChg chg="mod">
          <ac:chgData name="christophe CHUECOS-FONT" userId="7e57acaa-4bc6-4644-8edc-0ecdded28594" providerId="ADAL" clId="{AEC8F169-53EF-477E-AA87-6479700505CB}" dt="2021-03-26T11:50:36.117" v="1749" actId="27636"/>
          <ac:spMkLst>
            <pc:docMk/>
            <pc:sldMk cId="2778287842" sldId="930"/>
            <ac:spMk id="3" creationId="{14AABC54-2180-4F73-9948-B6849C5F71A0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1:50:45.063" v="1750" actId="255"/>
          <ac:graphicFrameMkLst>
            <pc:docMk/>
            <pc:sldMk cId="2778287842" sldId="930"/>
            <ac:graphicFrameMk id="4" creationId="{862D9251-85CF-41C3-A48F-6E8A80B66710}"/>
          </ac:graphicFrameMkLst>
        </pc:graphicFrameChg>
      </pc:sldChg>
      <pc:sldChg chg="addSp delSp modSp new mod">
        <pc:chgData name="christophe CHUECOS-FONT" userId="7e57acaa-4bc6-4644-8edc-0ecdded28594" providerId="ADAL" clId="{AEC8F169-53EF-477E-AA87-6479700505CB}" dt="2021-03-26T11:54:42.955" v="1882" actId="6549"/>
        <pc:sldMkLst>
          <pc:docMk/>
          <pc:sldMk cId="3403650375" sldId="931"/>
        </pc:sldMkLst>
        <pc:spChg chg="mod">
          <ac:chgData name="christophe CHUECOS-FONT" userId="7e57acaa-4bc6-4644-8edc-0ecdded28594" providerId="ADAL" clId="{AEC8F169-53EF-477E-AA87-6479700505CB}" dt="2021-03-26T11:53:57.149" v="1851" actId="20577"/>
          <ac:spMkLst>
            <pc:docMk/>
            <pc:sldMk cId="3403650375" sldId="931"/>
            <ac:spMk id="2" creationId="{30CFB80B-948C-4DCD-B125-E01D1DE2DB4C}"/>
          </ac:spMkLst>
        </pc:spChg>
        <pc:spChg chg="add del">
          <ac:chgData name="christophe CHUECOS-FONT" userId="7e57acaa-4bc6-4644-8edc-0ecdded28594" providerId="ADAL" clId="{AEC8F169-53EF-477E-AA87-6479700505CB}" dt="2021-03-26T11:51:35.878" v="1770"/>
          <ac:spMkLst>
            <pc:docMk/>
            <pc:sldMk cId="3403650375" sldId="931"/>
            <ac:spMk id="3" creationId="{3108CF7B-9719-474E-86CA-D91D666CCB8C}"/>
          </ac:spMkLst>
        </pc:spChg>
        <pc:spChg chg="add del">
          <ac:chgData name="christophe CHUECOS-FONT" userId="7e57acaa-4bc6-4644-8edc-0ecdded28594" providerId="ADAL" clId="{AEC8F169-53EF-477E-AA87-6479700505CB}" dt="2021-03-26T11:51:22.469" v="1769"/>
          <ac:spMkLst>
            <pc:docMk/>
            <pc:sldMk cId="3403650375" sldId="931"/>
            <ac:spMk id="8" creationId="{B06B23A2-AB31-447D-8F99-D9669FD1C205}"/>
          </ac:spMkLst>
        </pc:spChg>
        <pc:spChg chg="add mod">
          <ac:chgData name="christophe CHUECOS-FONT" userId="7e57acaa-4bc6-4644-8edc-0ecdded28594" providerId="ADAL" clId="{AEC8F169-53EF-477E-AA87-6479700505CB}" dt="2021-03-26T11:51:41.858" v="1771" actId="1076"/>
          <ac:spMkLst>
            <pc:docMk/>
            <pc:sldMk cId="3403650375" sldId="931"/>
            <ac:spMk id="11" creationId="{C42D3E78-840F-4ECE-9036-7C20CD6B81EB}"/>
          </ac:spMkLst>
        </pc:spChg>
        <pc:spChg chg="add del mod">
          <ac:chgData name="christophe CHUECOS-FONT" userId="7e57acaa-4bc6-4644-8edc-0ecdded28594" providerId="ADAL" clId="{AEC8F169-53EF-477E-AA87-6479700505CB}" dt="2021-03-26T11:52:16.286" v="1776" actId="21"/>
          <ac:spMkLst>
            <pc:docMk/>
            <pc:sldMk cId="3403650375" sldId="931"/>
            <ac:spMk id="14" creationId="{1C156F43-4834-4CAE-AB3E-493BFFF8B3CE}"/>
          </ac:spMkLst>
        </pc:spChg>
        <pc:graphicFrameChg chg="add del mod">
          <ac:chgData name="christophe CHUECOS-FONT" userId="7e57acaa-4bc6-4644-8edc-0ecdded28594" providerId="ADAL" clId="{AEC8F169-53EF-477E-AA87-6479700505CB}" dt="2021-03-26T11:51:22.469" v="1769"/>
          <ac:graphicFrameMkLst>
            <pc:docMk/>
            <pc:sldMk cId="3403650375" sldId="931"/>
            <ac:graphicFrameMk id="4" creationId="{E885226C-D557-4CAF-9E8C-EF3864B2FE28}"/>
          </ac:graphicFrameMkLst>
        </pc:graphicFrameChg>
        <pc:graphicFrameChg chg="add del mod">
          <ac:chgData name="christophe CHUECOS-FONT" userId="7e57acaa-4bc6-4644-8edc-0ecdded28594" providerId="ADAL" clId="{AEC8F169-53EF-477E-AA87-6479700505CB}" dt="2021-03-26T11:51:22.469" v="1769"/>
          <ac:graphicFrameMkLst>
            <pc:docMk/>
            <pc:sldMk cId="3403650375" sldId="931"/>
            <ac:graphicFrameMk id="5" creationId="{7A33B6FB-79FC-4DC3-8837-9840EB016F1A}"/>
          </ac:graphicFrameMkLst>
        </pc:graphicFrameChg>
        <pc:graphicFrameChg chg="add del mod modGraphic">
          <ac:chgData name="christophe CHUECOS-FONT" userId="7e57acaa-4bc6-4644-8edc-0ecdded28594" providerId="ADAL" clId="{AEC8F169-53EF-477E-AA87-6479700505CB}" dt="2021-03-26T11:51:22.469" v="1769"/>
          <ac:graphicFrameMkLst>
            <pc:docMk/>
            <pc:sldMk cId="3403650375" sldId="931"/>
            <ac:graphicFrameMk id="6" creationId="{F053B3B1-DF7D-4FCC-BB66-6B33873F614C}"/>
          </ac:graphicFrameMkLst>
        </pc:graphicFrameChg>
        <pc:graphicFrameChg chg="add del mod">
          <ac:chgData name="christophe CHUECOS-FONT" userId="7e57acaa-4bc6-4644-8edc-0ecdded28594" providerId="ADAL" clId="{AEC8F169-53EF-477E-AA87-6479700505CB}" dt="2021-03-26T11:51:22.469" v="1769"/>
          <ac:graphicFrameMkLst>
            <pc:docMk/>
            <pc:sldMk cId="3403650375" sldId="931"/>
            <ac:graphicFrameMk id="7" creationId="{62C30E27-2727-42E5-8CCF-607B89546B8D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4:12.423" v="1853" actId="14100"/>
          <ac:graphicFrameMkLst>
            <pc:docMk/>
            <pc:sldMk cId="3403650375" sldId="931"/>
            <ac:graphicFrameMk id="9" creationId="{1E747829-FA88-4678-8487-2DB53727F5E1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3:38.663" v="1796" actId="14100"/>
          <ac:graphicFrameMkLst>
            <pc:docMk/>
            <pc:sldMk cId="3403650375" sldId="931"/>
            <ac:graphicFrameMk id="10" creationId="{53ACA630-92D7-4FD8-BDC2-8C5BCED2DC5F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4:08.010" v="1852" actId="14100"/>
          <ac:graphicFrameMkLst>
            <pc:docMk/>
            <pc:sldMk cId="3403650375" sldId="931"/>
            <ac:graphicFrameMk id="12" creationId="{B371AD77-3665-4473-867C-0A5F047F0211}"/>
          </ac:graphicFrameMkLst>
        </pc:graphicFrameChg>
        <pc:graphicFrameChg chg="add del mod">
          <ac:chgData name="christophe CHUECOS-FONT" userId="7e57acaa-4bc6-4644-8edc-0ecdded28594" providerId="ADAL" clId="{AEC8F169-53EF-477E-AA87-6479700505CB}" dt="2021-03-26T11:52:16.286" v="1776" actId="21"/>
          <ac:graphicFrameMkLst>
            <pc:docMk/>
            <pc:sldMk cId="3403650375" sldId="931"/>
            <ac:graphicFrameMk id="13" creationId="{997058E9-154B-4EB9-A053-0F29EC30A7B1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4:42.955" v="1882" actId="6549"/>
          <ac:graphicFrameMkLst>
            <pc:docMk/>
            <pc:sldMk cId="3403650375" sldId="931"/>
            <ac:graphicFrameMk id="15" creationId="{7F4B5347-7984-4237-AA38-6B1089BEDD49}"/>
          </ac:graphicFrameMkLst>
        </pc:graphicFrameChg>
      </pc:sldChg>
      <pc:sldChg chg="addSp delSp modSp new mod">
        <pc:chgData name="christophe CHUECOS-FONT" userId="7e57acaa-4bc6-4644-8edc-0ecdded28594" providerId="ADAL" clId="{AEC8F169-53EF-477E-AA87-6479700505CB}" dt="2021-03-26T11:58:58.031" v="1925" actId="14734"/>
        <pc:sldMkLst>
          <pc:docMk/>
          <pc:sldMk cId="908281077" sldId="932"/>
        </pc:sldMkLst>
        <pc:spChg chg="add del mod">
          <ac:chgData name="christophe CHUECOS-FONT" userId="7e57acaa-4bc6-4644-8edc-0ecdded28594" providerId="ADAL" clId="{AEC8F169-53EF-477E-AA87-6479700505CB}" dt="2021-03-26T11:58:01.780" v="1914" actId="21"/>
          <ac:spMkLst>
            <pc:docMk/>
            <pc:sldMk cId="908281077" sldId="932"/>
            <ac:spMk id="2" creationId="{F1FE80F6-6378-42DB-BBB8-CCDC7E6ADF9D}"/>
          </ac:spMkLst>
        </pc:spChg>
        <pc:spChg chg="del">
          <ac:chgData name="christophe CHUECOS-FONT" userId="7e57acaa-4bc6-4644-8edc-0ecdded28594" providerId="ADAL" clId="{AEC8F169-53EF-477E-AA87-6479700505CB}" dt="2021-03-26T11:55:10.439" v="1884"/>
          <ac:spMkLst>
            <pc:docMk/>
            <pc:sldMk cId="908281077" sldId="932"/>
            <ac:spMk id="3" creationId="{0D22CECA-B3B1-4778-965F-2363C457A0C0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1:58:15.907" v="1919" actId="1076"/>
          <ac:graphicFrameMkLst>
            <pc:docMk/>
            <pc:sldMk cId="908281077" sldId="932"/>
            <ac:graphicFrameMk id="4" creationId="{DDEC20EB-3E45-48F3-BF9C-FB014B1CDC8D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7:15.117" v="1906" actId="14100"/>
          <ac:graphicFrameMkLst>
            <pc:docMk/>
            <pc:sldMk cId="908281077" sldId="932"/>
            <ac:graphicFrameMk id="5" creationId="{003A891D-18A8-4F79-8035-4AF184220B4D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8:11.086" v="1918" actId="1076"/>
          <ac:graphicFrameMkLst>
            <pc:docMk/>
            <pc:sldMk cId="908281077" sldId="932"/>
            <ac:graphicFrameMk id="6" creationId="{837B8EB3-3F8D-4B5F-80F8-A5F6DC2614B5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8:58.031" v="1925" actId="14734"/>
          <ac:graphicFrameMkLst>
            <pc:docMk/>
            <pc:sldMk cId="908281077" sldId="932"/>
            <ac:graphicFrameMk id="7" creationId="{963F81F5-128B-4897-B5F8-13508D013333}"/>
          </ac:graphicFrameMkLst>
        </pc:graphicFrameChg>
        <pc:picChg chg="add mod">
          <ac:chgData name="christophe CHUECOS-FONT" userId="7e57acaa-4bc6-4644-8edc-0ecdded28594" providerId="ADAL" clId="{AEC8F169-53EF-477E-AA87-6479700505CB}" dt="2021-03-26T11:58:09.047" v="1917" actId="14100"/>
          <ac:picMkLst>
            <pc:docMk/>
            <pc:sldMk cId="908281077" sldId="932"/>
            <ac:picMk id="8" creationId="{5164A463-B201-4E44-BC57-FF454DE7CC4E}"/>
          </ac:picMkLst>
        </pc:picChg>
      </pc:sldChg>
      <pc:sldChg chg="addSp delSp modSp add mod">
        <pc:chgData name="christophe CHUECOS-FONT" userId="7e57acaa-4bc6-4644-8edc-0ecdded28594" providerId="ADAL" clId="{AEC8F169-53EF-477E-AA87-6479700505CB}" dt="2021-03-26T12:05:26.172" v="1958" actId="14100"/>
        <pc:sldMkLst>
          <pc:docMk/>
          <pc:sldMk cId="388731633" sldId="933"/>
        </pc:sldMkLst>
        <pc:graphicFrameChg chg="del mod modGraphic">
          <ac:chgData name="christophe CHUECOS-FONT" userId="7e57acaa-4bc6-4644-8edc-0ecdded28594" providerId="ADAL" clId="{AEC8F169-53EF-477E-AA87-6479700505CB}" dt="2021-03-26T12:05:09.913" v="1955" actId="21"/>
          <ac:graphicFrameMkLst>
            <pc:docMk/>
            <pc:sldMk cId="388731633" sldId="933"/>
            <ac:graphicFrameMk id="4" creationId="{EF0C9E3E-CA63-4010-B8D8-7587302885EA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2:05:26.172" v="1958" actId="14100"/>
          <ac:graphicFrameMkLst>
            <pc:docMk/>
            <pc:sldMk cId="388731633" sldId="933"/>
            <ac:graphicFrameMk id="5" creationId="{36213E86-B02B-4398-B79E-9982F0B089DB}"/>
          </ac:graphicFrameMkLst>
        </pc:graphicFrameChg>
      </pc:sldChg>
      <pc:sldChg chg="addSp delSp modSp add mod">
        <pc:chgData name="christophe CHUECOS-FONT" userId="7e57acaa-4bc6-4644-8edc-0ecdded28594" providerId="ADAL" clId="{AEC8F169-53EF-477E-AA87-6479700505CB}" dt="2021-03-26T12:06:42.543" v="1970" actId="1076"/>
        <pc:sldMkLst>
          <pc:docMk/>
          <pc:sldMk cId="1994598111" sldId="934"/>
        </pc:sldMkLst>
        <pc:spChg chg="mod">
          <ac:chgData name="christophe CHUECOS-FONT" userId="7e57acaa-4bc6-4644-8edc-0ecdded28594" providerId="ADAL" clId="{AEC8F169-53EF-477E-AA87-6479700505CB}" dt="2021-03-26T12:06:42.543" v="1970" actId="1076"/>
          <ac:spMkLst>
            <pc:docMk/>
            <pc:sldMk cId="1994598111" sldId="934"/>
            <ac:spMk id="3" creationId="{9FA71A85-160A-4CFF-9241-BA71D421B86B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2:06:38.970" v="1969" actId="1076"/>
          <ac:graphicFrameMkLst>
            <pc:docMk/>
            <pc:sldMk cId="1994598111" sldId="934"/>
            <ac:graphicFrameMk id="4" creationId="{C17C8142-82CE-49F7-8FAD-961B88248BB6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2:05:46.149" v="1962" actId="21"/>
          <ac:graphicFrameMkLst>
            <pc:docMk/>
            <pc:sldMk cId="1994598111" sldId="934"/>
            <ac:graphicFrameMk id="5" creationId="{36213E86-B02B-4398-B79E-9982F0B089DB}"/>
          </ac:graphicFrameMkLst>
        </pc:graphicFrameChg>
      </pc:sldChg>
      <pc:sldChg chg="addSp delSp modSp add mod ord">
        <pc:chgData name="christophe CHUECOS-FONT" userId="7e57acaa-4bc6-4644-8edc-0ecdded28594" providerId="ADAL" clId="{AEC8F169-53EF-477E-AA87-6479700505CB}" dt="2021-03-26T12:07:16.791" v="1978" actId="255"/>
        <pc:sldMkLst>
          <pc:docMk/>
          <pc:sldMk cId="3995244737" sldId="935"/>
        </pc:sldMkLst>
        <pc:graphicFrameChg chg="add mod modGraphic">
          <ac:chgData name="christophe CHUECOS-FONT" userId="7e57acaa-4bc6-4644-8edc-0ecdded28594" providerId="ADAL" clId="{AEC8F169-53EF-477E-AA87-6479700505CB}" dt="2021-03-26T12:07:16.791" v="1978" actId="255"/>
          <ac:graphicFrameMkLst>
            <pc:docMk/>
            <pc:sldMk cId="3995244737" sldId="935"/>
            <ac:graphicFrameMk id="4" creationId="{31341E29-4EF9-4CD4-A113-CE1BC1408EAE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2:06:52.494" v="1974" actId="21"/>
          <ac:graphicFrameMkLst>
            <pc:docMk/>
            <pc:sldMk cId="3995244737" sldId="935"/>
            <ac:graphicFrameMk id="5" creationId="{36213E86-B02B-4398-B79E-9982F0B089DB}"/>
          </ac:graphicFrameMkLst>
        </pc:graphicFrameChg>
      </pc:sldChg>
      <pc:sldChg chg="addSp delSp modSp add mod">
        <pc:chgData name="christophe CHUECOS-FONT" userId="7e57acaa-4bc6-4644-8edc-0ecdded28594" providerId="ADAL" clId="{AEC8F169-53EF-477E-AA87-6479700505CB}" dt="2021-03-26T12:07:44.786" v="1983" actId="14100"/>
        <pc:sldMkLst>
          <pc:docMk/>
          <pc:sldMk cId="1796677580" sldId="936"/>
        </pc:sldMkLst>
        <pc:graphicFrameChg chg="del">
          <ac:chgData name="christophe CHUECOS-FONT" userId="7e57acaa-4bc6-4644-8edc-0ecdded28594" providerId="ADAL" clId="{AEC8F169-53EF-477E-AA87-6479700505CB}" dt="2021-03-26T12:07:26.568" v="1980" actId="21"/>
          <ac:graphicFrameMkLst>
            <pc:docMk/>
            <pc:sldMk cId="1796677580" sldId="936"/>
            <ac:graphicFrameMk id="4" creationId="{31341E29-4EF9-4CD4-A113-CE1BC1408EAE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2:07:44.786" v="1983" actId="14100"/>
          <ac:graphicFrameMkLst>
            <pc:docMk/>
            <pc:sldMk cId="1796677580" sldId="936"/>
            <ac:graphicFrameMk id="5" creationId="{5AA6B966-6CC4-4B87-97D1-3182CC969173}"/>
          </ac:graphicFrameMkLst>
        </pc:graphicFrameChg>
      </pc:sldChg>
      <pc:sldChg chg="addSp delSp modSp add mod">
        <pc:chgData name="christophe CHUECOS-FONT" userId="7e57acaa-4bc6-4644-8edc-0ecdded28594" providerId="ADAL" clId="{AEC8F169-53EF-477E-AA87-6479700505CB}" dt="2021-03-26T12:08:16.157" v="1988" actId="14100"/>
        <pc:sldMkLst>
          <pc:docMk/>
          <pc:sldMk cId="3725550176" sldId="937"/>
        </pc:sldMkLst>
        <pc:graphicFrameChg chg="add mod modGraphic">
          <ac:chgData name="christophe CHUECOS-FONT" userId="7e57acaa-4bc6-4644-8edc-0ecdded28594" providerId="ADAL" clId="{AEC8F169-53EF-477E-AA87-6479700505CB}" dt="2021-03-26T12:08:16.157" v="1988" actId="14100"/>
          <ac:graphicFrameMkLst>
            <pc:docMk/>
            <pc:sldMk cId="3725550176" sldId="937"/>
            <ac:graphicFrameMk id="4" creationId="{BBE1DF13-B039-454A-A3E6-FCBDA8CCCC01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2:07:53.976" v="1985" actId="21"/>
          <ac:graphicFrameMkLst>
            <pc:docMk/>
            <pc:sldMk cId="3725550176" sldId="937"/>
            <ac:graphicFrameMk id="5" creationId="{5AA6B966-6CC4-4B87-97D1-3182CC969173}"/>
          </ac:graphicFrameMkLst>
        </pc:graphicFrameChg>
      </pc:sldChg>
      <pc:sldChg chg="addSp delSp modSp add mod">
        <pc:chgData name="christophe CHUECOS-FONT" userId="7e57acaa-4bc6-4644-8edc-0ecdded28594" providerId="ADAL" clId="{AEC8F169-53EF-477E-AA87-6479700505CB}" dt="2021-03-26T12:09:10.840" v="1998" actId="14100"/>
        <pc:sldMkLst>
          <pc:docMk/>
          <pc:sldMk cId="69180362" sldId="938"/>
        </pc:sldMkLst>
        <pc:spChg chg="add mod">
          <ac:chgData name="christophe CHUECOS-FONT" userId="7e57acaa-4bc6-4644-8edc-0ecdded28594" providerId="ADAL" clId="{AEC8F169-53EF-477E-AA87-6479700505CB}" dt="2021-03-26T12:08:51.807" v="1995" actId="20577"/>
          <ac:spMkLst>
            <pc:docMk/>
            <pc:sldMk cId="69180362" sldId="938"/>
            <ac:spMk id="8" creationId="{D10E6916-68A2-4418-A5BE-C012CAD7BB92}"/>
          </ac:spMkLst>
        </pc:spChg>
        <pc:graphicFrameChg chg="del">
          <ac:chgData name="christophe CHUECOS-FONT" userId="7e57acaa-4bc6-4644-8edc-0ecdded28594" providerId="ADAL" clId="{AEC8F169-53EF-477E-AA87-6479700505CB}" dt="2021-03-26T12:08:26.938" v="1990" actId="21"/>
          <ac:graphicFrameMkLst>
            <pc:docMk/>
            <pc:sldMk cId="69180362" sldId="938"/>
            <ac:graphicFrameMk id="4" creationId="{BBE1DF13-B039-454A-A3E6-FCBDA8CCCC01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2:09:10.840" v="1998" actId="14100"/>
          <ac:graphicFrameMkLst>
            <pc:docMk/>
            <pc:sldMk cId="69180362" sldId="938"/>
            <ac:graphicFrameMk id="6" creationId="{426880A0-D09A-47D5-ADBB-F04174F4A43D}"/>
          </ac:graphicFrameMkLst>
        </pc:graphicFrameChg>
      </pc:sldChg>
    </pc:docChg>
  </pc:docChgLst>
  <pc:docChgLst>
    <pc:chgData name="christophe CHUECOS-FONT" userId="7e57acaa-4bc6-4644-8edc-0ecdded28594" providerId="ADAL" clId="{733E7292-7D6B-4E07-BF4E-B3EF01A33C0E}"/>
    <pc:docChg chg="modSld">
      <pc:chgData name="christophe CHUECOS-FONT" userId="7e57acaa-4bc6-4644-8edc-0ecdded28594" providerId="ADAL" clId="{733E7292-7D6B-4E07-BF4E-B3EF01A33C0E}" dt="2021-05-05T08:48:04.857" v="1" actId="20577"/>
      <pc:docMkLst>
        <pc:docMk/>
      </pc:docMkLst>
      <pc:sldChg chg="modSp mod">
        <pc:chgData name="christophe CHUECOS-FONT" userId="7e57acaa-4bc6-4644-8edc-0ecdded28594" providerId="ADAL" clId="{733E7292-7D6B-4E07-BF4E-B3EF01A33C0E}" dt="2021-05-05T08:48:04.857" v="1" actId="20577"/>
        <pc:sldMkLst>
          <pc:docMk/>
          <pc:sldMk cId="1480198139" sldId="909"/>
        </pc:sldMkLst>
        <pc:graphicFrameChg chg="modGraphic">
          <ac:chgData name="christophe CHUECOS-FONT" userId="7e57acaa-4bc6-4644-8edc-0ecdded28594" providerId="ADAL" clId="{733E7292-7D6B-4E07-BF4E-B3EF01A33C0E}" dt="2021-05-05T08:48:04.857" v="1" actId="20577"/>
          <ac:graphicFrameMkLst>
            <pc:docMk/>
            <pc:sldMk cId="1480198139" sldId="909"/>
            <ac:graphicFrameMk id="4" creationId="{87A75930-C904-4BA5-8DC2-25CEE7078240}"/>
          </ac:graphicFrameMkLst>
        </pc:graphicFrameChg>
      </pc:sldChg>
    </pc:docChg>
  </pc:docChgLst>
  <pc:docChgLst>
    <pc:chgData name="christophe CHUECOS-FONT" userId="7e57acaa-4bc6-4644-8edc-0ecdded28594" providerId="ADAL" clId="{C2BEBF3A-ECBA-4860-AC25-66AB61261A96}"/>
    <pc:docChg chg="undo custSel addSld delSld modSld sldOrd">
      <pc:chgData name="christophe CHUECOS-FONT" userId="7e57acaa-4bc6-4644-8edc-0ecdded28594" providerId="ADAL" clId="{C2BEBF3A-ECBA-4860-AC25-66AB61261A96}" dt="2021-03-18T23:43:37.528" v="1750" actId="6549"/>
      <pc:docMkLst>
        <pc:docMk/>
      </pc:docMkLst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831747057" sldId="258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174517492" sldId="259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3018494457" sldId="266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1765093222" sldId="267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1677432768" sldId="297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130980171" sldId="299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049130264" sldId="300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3173007657" sldId="301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1804052538" sldId="302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883904425" sldId="309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655996761" sldId="317"/>
        </pc:sldMkLst>
      </pc:sldChg>
      <pc:sldChg chg="add">
        <pc:chgData name="christophe CHUECOS-FONT" userId="7e57acaa-4bc6-4644-8edc-0ecdded28594" providerId="ADAL" clId="{C2BEBF3A-ECBA-4860-AC25-66AB61261A96}" dt="2021-03-18T22:54:09.324" v="856"/>
        <pc:sldMkLst>
          <pc:docMk/>
          <pc:sldMk cId="1271957293" sldId="338"/>
        </pc:sldMkLst>
      </pc:sldChg>
      <pc:sldChg chg="add">
        <pc:chgData name="christophe CHUECOS-FONT" userId="7e57acaa-4bc6-4644-8edc-0ecdded28594" providerId="ADAL" clId="{C2BEBF3A-ECBA-4860-AC25-66AB61261A96}" dt="2021-03-18T22:54:09.324" v="856"/>
        <pc:sldMkLst>
          <pc:docMk/>
          <pc:sldMk cId="2720677423" sldId="342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649958680" sldId="672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3843576302" sldId="677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3945995144" sldId="779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909694736" sldId="802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2502557485" sldId="803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3840082568" sldId="820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556005404" sldId="840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2080613406" sldId="848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2013905306" sldId="849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2136421834" sldId="850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737365082" sldId="851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363521892" sldId="852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3501519798" sldId="853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500929375" sldId="854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502558103" sldId="855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4231120075" sldId="856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981759289" sldId="857"/>
        </pc:sldMkLst>
      </pc:sldChg>
      <pc:sldChg chg="del">
        <pc:chgData name="christophe CHUECOS-FONT" userId="7e57acaa-4bc6-4644-8edc-0ecdded28594" providerId="ADAL" clId="{C2BEBF3A-ECBA-4860-AC25-66AB61261A96}" dt="2021-03-18T21:54:46.634" v="2" actId="47"/>
        <pc:sldMkLst>
          <pc:docMk/>
          <pc:sldMk cId="363262154" sldId="858"/>
        </pc:sldMkLst>
      </pc:sldChg>
      <pc:sldChg chg="del">
        <pc:chgData name="christophe CHUECOS-FONT" userId="7e57acaa-4bc6-4644-8edc-0ecdded28594" providerId="ADAL" clId="{C2BEBF3A-ECBA-4860-AC25-66AB61261A96}" dt="2021-03-18T21:54:46.634" v="2" actId="47"/>
        <pc:sldMkLst>
          <pc:docMk/>
          <pc:sldMk cId="1680082296" sldId="859"/>
        </pc:sldMkLst>
      </pc:sldChg>
      <pc:sldChg chg="del">
        <pc:chgData name="christophe CHUECOS-FONT" userId="7e57acaa-4bc6-4644-8edc-0ecdded28594" providerId="ADAL" clId="{C2BEBF3A-ECBA-4860-AC25-66AB61261A96}" dt="2021-03-18T21:54:46.634" v="2" actId="47"/>
        <pc:sldMkLst>
          <pc:docMk/>
          <pc:sldMk cId="3596322850" sldId="860"/>
        </pc:sldMkLst>
      </pc:sldChg>
      <pc:sldChg chg="del">
        <pc:chgData name="christophe CHUECOS-FONT" userId="7e57acaa-4bc6-4644-8edc-0ecdded28594" providerId="ADAL" clId="{C2BEBF3A-ECBA-4860-AC25-66AB61261A96}" dt="2021-03-18T21:54:46.634" v="2" actId="47"/>
        <pc:sldMkLst>
          <pc:docMk/>
          <pc:sldMk cId="1183493075" sldId="861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270596968" sldId="863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279228181" sldId="864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272375052" sldId="865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840640440" sldId="866"/>
        </pc:sldMkLst>
      </pc:sldChg>
      <pc:sldChg chg="addSp delSp modSp add mod">
        <pc:chgData name="christophe CHUECOS-FONT" userId="7e57acaa-4bc6-4644-8edc-0ecdded28594" providerId="ADAL" clId="{C2BEBF3A-ECBA-4860-AC25-66AB61261A96}" dt="2021-03-18T22:32:26.886" v="598" actId="13822"/>
        <pc:sldMkLst>
          <pc:docMk/>
          <pc:sldMk cId="2561881984" sldId="890"/>
        </pc:sldMkLst>
        <pc:spChg chg="mod">
          <ac:chgData name="christophe CHUECOS-FONT" userId="7e57acaa-4bc6-4644-8edc-0ecdded28594" providerId="ADAL" clId="{C2BEBF3A-ECBA-4860-AC25-66AB61261A96}" dt="2021-03-18T22:27:09.862" v="419" actId="20577"/>
          <ac:spMkLst>
            <pc:docMk/>
            <pc:sldMk cId="2561881984" sldId="890"/>
            <ac:spMk id="2" creationId="{AEFCB68E-E041-4E46-A233-3C2208DA32CB}"/>
          </ac:spMkLst>
        </pc:spChg>
        <pc:spChg chg="del mod">
          <ac:chgData name="christophe CHUECOS-FONT" userId="7e57acaa-4bc6-4644-8edc-0ecdded28594" providerId="ADAL" clId="{C2BEBF3A-ECBA-4860-AC25-66AB61261A96}" dt="2021-03-18T22:30:06.490" v="485" actId="21"/>
          <ac:spMkLst>
            <pc:docMk/>
            <pc:sldMk cId="2561881984" sldId="890"/>
            <ac:spMk id="3" creationId="{9FA71A85-160A-4CFF-9241-BA71D421B86B}"/>
          </ac:spMkLst>
        </pc:spChg>
        <pc:spChg chg="add del mod">
          <ac:chgData name="christophe CHUECOS-FONT" userId="7e57acaa-4bc6-4644-8edc-0ecdded28594" providerId="ADAL" clId="{C2BEBF3A-ECBA-4860-AC25-66AB61261A96}" dt="2021-03-18T22:30:24.717" v="486" actId="1032"/>
          <ac:spMkLst>
            <pc:docMk/>
            <pc:sldMk cId="2561881984" sldId="890"/>
            <ac:spMk id="6" creationId="{E2B09787-EBA4-4F7F-B3DC-8EDC708E9D42}"/>
          </ac:spMkLst>
        </pc:spChg>
        <pc:graphicFrameChg chg="add del mod modGraphic">
          <ac:chgData name="christophe CHUECOS-FONT" userId="7e57acaa-4bc6-4644-8edc-0ecdded28594" providerId="ADAL" clId="{C2BEBF3A-ECBA-4860-AC25-66AB61261A96}" dt="2021-03-18T22:29:58.959" v="482" actId="1032"/>
          <ac:graphicFrameMkLst>
            <pc:docMk/>
            <pc:sldMk cId="2561881984" sldId="890"/>
            <ac:graphicFrameMk id="4" creationId="{0142870B-CDF0-4CA1-A568-2B7AF0EC7EC1}"/>
          </ac:graphicFrameMkLst>
        </pc:graphicFrameChg>
        <pc:graphicFrameChg chg="add mod modGraphic">
          <ac:chgData name="christophe CHUECOS-FONT" userId="7e57acaa-4bc6-4644-8edc-0ecdded28594" providerId="ADAL" clId="{C2BEBF3A-ECBA-4860-AC25-66AB61261A96}" dt="2021-03-18T22:32:26.886" v="598" actId="13822"/>
          <ac:graphicFrameMkLst>
            <pc:docMk/>
            <pc:sldMk cId="2561881984" sldId="890"/>
            <ac:graphicFrameMk id="7" creationId="{E256D12B-7717-428E-9F1F-CEAB66B37BB8}"/>
          </ac:graphicFrameMkLst>
        </pc:graphicFrameChg>
      </pc:sldChg>
      <pc:sldChg chg="addSp delSp modSp add mod">
        <pc:chgData name="christophe CHUECOS-FONT" userId="7e57acaa-4bc6-4644-8edc-0ecdded28594" providerId="ADAL" clId="{C2BEBF3A-ECBA-4860-AC25-66AB61261A96}" dt="2021-03-18T22:13:16.513" v="187" actId="14734"/>
        <pc:sldMkLst>
          <pc:docMk/>
          <pc:sldMk cId="162758596" sldId="891"/>
        </pc:sldMkLst>
        <pc:spChg chg="mod">
          <ac:chgData name="christophe CHUECOS-FONT" userId="7e57acaa-4bc6-4644-8edc-0ecdded28594" providerId="ADAL" clId="{C2BEBF3A-ECBA-4860-AC25-66AB61261A96}" dt="2021-03-18T22:10:16.097" v="179" actId="6549"/>
          <ac:spMkLst>
            <pc:docMk/>
            <pc:sldMk cId="162758596" sldId="891"/>
            <ac:spMk id="3" creationId="{9FA71A85-160A-4CFF-9241-BA71D421B86B}"/>
          </ac:spMkLst>
        </pc:spChg>
        <pc:spChg chg="add del mod">
          <ac:chgData name="christophe CHUECOS-FONT" userId="7e57acaa-4bc6-4644-8edc-0ecdded28594" providerId="ADAL" clId="{C2BEBF3A-ECBA-4860-AC25-66AB61261A96}" dt="2021-03-18T22:10:01.392" v="178"/>
          <ac:spMkLst>
            <pc:docMk/>
            <pc:sldMk cId="162758596" sldId="891"/>
            <ac:spMk id="5" creationId="{64E23044-CE04-4B94-850D-BD5548A88D42}"/>
          </ac:spMkLst>
        </pc:spChg>
        <pc:graphicFrameChg chg="add del mod">
          <ac:chgData name="christophe CHUECOS-FONT" userId="7e57acaa-4bc6-4644-8edc-0ecdded28594" providerId="ADAL" clId="{C2BEBF3A-ECBA-4860-AC25-66AB61261A96}" dt="2021-03-18T22:10:01.392" v="178"/>
          <ac:graphicFrameMkLst>
            <pc:docMk/>
            <pc:sldMk cId="162758596" sldId="891"/>
            <ac:graphicFrameMk id="4" creationId="{A71DFF4D-A8AC-479D-8ABA-950DEC91BB55}"/>
          </ac:graphicFrameMkLst>
        </pc:graphicFrameChg>
        <pc:graphicFrameChg chg="add mod modGraphic">
          <ac:chgData name="christophe CHUECOS-FONT" userId="7e57acaa-4bc6-4644-8edc-0ecdded28594" providerId="ADAL" clId="{C2BEBF3A-ECBA-4860-AC25-66AB61261A96}" dt="2021-03-18T22:13:16.513" v="187" actId="14734"/>
          <ac:graphicFrameMkLst>
            <pc:docMk/>
            <pc:sldMk cId="162758596" sldId="891"/>
            <ac:graphicFrameMk id="6" creationId="{90B6971D-E1FB-42BE-A7E9-5FA4D585EE92}"/>
          </ac:graphicFrameMkLst>
        </pc:graphicFrameChg>
      </pc:sldChg>
      <pc:sldChg chg="addSp modSp add mod">
        <pc:chgData name="christophe CHUECOS-FONT" userId="7e57acaa-4bc6-4644-8edc-0ecdded28594" providerId="ADAL" clId="{C2BEBF3A-ECBA-4860-AC25-66AB61261A96}" dt="2021-03-18T22:20:51.004" v="193" actId="14100"/>
        <pc:sldMkLst>
          <pc:docMk/>
          <pc:sldMk cId="3592509618" sldId="892"/>
        </pc:sldMkLst>
        <pc:spChg chg="mod">
          <ac:chgData name="christophe CHUECOS-FONT" userId="7e57acaa-4bc6-4644-8edc-0ecdded28594" providerId="ADAL" clId="{C2BEBF3A-ECBA-4860-AC25-66AB61261A96}" dt="2021-03-18T22:20:33.544" v="189" actId="6549"/>
          <ac:spMkLst>
            <pc:docMk/>
            <pc:sldMk cId="3592509618" sldId="892"/>
            <ac:spMk id="3" creationId="{9FA71A85-160A-4CFF-9241-BA71D421B86B}"/>
          </ac:spMkLst>
        </pc:spChg>
        <pc:picChg chg="add mod">
          <ac:chgData name="christophe CHUECOS-FONT" userId="7e57acaa-4bc6-4644-8edc-0ecdded28594" providerId="ADAL" clId="{C2BEBF3A-ECBA-4860-AC25-66AB61261A96}" dt="2021-03-18T22:20:51.004" v="193" actId="14100"/>
          <ac:picMkLst>
            <pc:docMk/>
            <pc:sldMk cId="3592509618" sldId="892"/>
            <ac:picMk id="5" creationId="{A1D02FCC-25C3-466A-AA38-333553E41D2F}"/>
          </ac:picMkLst>
        </pc:picChg>
      </pc:sldChg>
      <pc:sldChg chg="add ord">
        <pc:chgData name="christophe CHUECOS-FONT" userId="7e57acaa-4bc6-4644-8edc-0ecdded28594" providerId="ADAL" clId="{C2BEBF3A-ECBA-4860-AC25-66AB61261A96}" dt="2021-03-18T22:22:59.717" v="261"/>
        <pc:sldMkLst>
          <pc:docMk/>
          <pc:sldMk cId="1833177139" sldId="893"/>
        </pc:sldMkLst>
      </pc:sldChg>
      <pc:sldChg chg="modSp add del mod ord">
        <pc:chgData name="christophe CHUECOS-FONT" userId="7e57acaa-4bc6-4644-8edc-0ecdded28594" providerId="ADAL" clId="{C2BEBF3A-ECBA-4860-AC25-66AB61261A96}" dt="2021-03-18T22:34:13.350" v="633" actId="47"/>
        <pc:sldMkLst>
          <pc:docMk/>
          <pc:sldMk cId="769505132" sldId="894"/>
        </pc:sldMkLst>
        <pc:spChg chg="mod">
          <ac:chgData name="christophe CHUECOS-FONT" userId="7e57acaa-4bc6-4644-8edc-0ecdded28594" providerId="ADAL" clId="{C2BEBF3A-ECBA-4860-AC25-66AB61261A96}" dt="2021-03-18T22:26:54.705" v="415" actId="20577"/>
          <ac:spMkLst>
            <pc:docMk/>
            <pc:sldMk cId="769505132" sldId="894"/>
            <ac:spMk id="3" creationId="{9FA71A85-160A-4CFF-9241-BA71D421B86B}"/>
          </ac:spMkLst>
        </pc:spChg>
      </pc:sldChg>
      <pc:sldChg chg="modSp add mod ord">
        <pc:chgData name="christophe CHUECOS-FONT" userId="7e57acaa-4bc6-4644-8edc-0ecdded28594" providerId="ADAL" clId="{C2BEBF3A-ECBA-4860-AC25-66AB61261A96}" dt="2021-03-18T22:31:38.669" v="596" actId="20577"/>
        <pc:sldMkLst>
          <pc:docMk/>
          <pc:sldMk cId="3528439896" sldId="895"/>
        </pc:sldMkLst>
        <pc:spChg chg="mod">
          <ac:chgData name="christophe CHUECOS-FONT" userId="7e57acaa-4bc6-4644-8edc-0ecdded28594" providerId="ADAL" clId="{C2BEBF3A-ECBA-4860-AC25-66AB61261A96}" dt="2021-03-18T22:31:38.669" v="596" actId="20577"/>
          <ac:spMkLst>
            <pc:docMk/>
            <pc:sldMk cId="3528439896" sldId="895"/>
            <ac:spMk id="2" creationId="{AEFCB68E-E041-4E46-A233-3C2208DA32CB}"/>
          </ac:spMkLst>
        </pc:spChg>
      </pc:sldChg>
      <pc:sldChg chg="addSp delSp modSp new mod setBg">
        <pc:chgData name="christophe CHUECOS-FONT" userId="7e57acaa-4bc6-4644-8edc-0ecdded28594" providerId="ADAL" clId="{C2BEBF3A-ECBA-4860-AC25-66AB61261A96}" dt="2021-03-18T22:33:43.651" v="627" actId="14100"/>
        <pc:sldMkLst>
          <pc:docMk/>
          <pc:sldMk cId="2970499838" sldId="896"/>
        </pc:sldMkLst>
        <pc:spChg chg="mod">
          <ac:chgData name="christophe CHUECOS-FONT" userId="7e57acaa-4bc6-4644-8edc-0ecdded28594" providerId="ADAL" clId="{C2BEBF3A-ECBA-4860-AC25-66AB61261A96}" dt="2021-03-18T22:33:43.651" v="627" actId="14100"/>
          <ac:spMkLst>
            <pc:docMk/>
            <pc:sldMk cId="2970499838" sldId="896"/>
            <ac:spMk id="2" creationId="{63C23A44-953E-4DCE-A2FC-7526BBD520AD}"/>
          </ac:spMkLst>
        </pc:spChg>
        <pc:spChg chg="del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3" creationId="{934AA38B-5BF8-4BF2-BBA3-C8382E081187}"/>
          </ac:spMkLst>
        </pc:spChg>
        <pc:spChg chg="add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9" creationId="{E91DC736-0EF8-4F87-9146-EBF1D2EE4D3D}"/>
          </ac:spMkLst>
        </pc:spChg>
        <pc:spChg chg="add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11" creationId="{097CD68E-23E3-4007-8847-CD0944C4F7BE}"/>
          </ac:spMkLst>
        </pc:spChg>
        <pc:spChg chg="add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13" creationId="{AF2F604E-43BE-4DC3-B983-E071523364F8}"/>
          </ac:spMkLst>
        </pc:spChg>
        <pc:spChg chg="add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15" creationId="{08C9B587-E65E-4B52-B37C-ABEBB6E87928}"/>
          </ac:spMkLst>
        </pc:spChg>
        <pc:picChg chg="add">
          <ac:chgData name="christophe CHUECOS-FONT" userId="7e57acaa-4bc6-4644-8edc-0ecdded28594" providerId="ADAL" clId="{C2BEBF3A-ECBA-4860-AC25-66AB61261A96}" dt="2021-03-18T22:33:31.763" v="612" actId="26606"/>
          <ac:picMkLst>
            <pc:docMk/>
            <pc:sldMk cId="2970499838" sldId="896"/>
            <ac:picMk id="5" creationId="{040A7521-ECAB-4BBC-ADFA-3C6D881ABFA4}"/>
          </ac:picMkLst>
        </pc:picChg>
      </pc:sldChg>
      <pc:sldChg chg="new del">
        <pc:chgData name="christophe CHUECOS-FONT" userId="7e57acaa-4bc6-4644-8edc-0ecdded28594" providerId="ADAL" clId="{C2BEBF3A-ECBA-4860-AC25-66AB61261A96}" dt="2021-03-18T22:33:53.591" v="629" actId="47"/>
        <pc:sldMkLst>
          <pc:docMk/>
          <pc:sldMk cId="1467064995" sldId="897"/>
        </pc:sldMkLst>
      </pc:sldChg>
      <pc:sldChg chg="modSp add mod ord">
        <pc:chgData name="christophe CHUECOS-FONT" userId="7e57acaa-4bc6-4644-8edc-0ecdded28594" providerId="ADAL" clId="{C2BEBF3A-ECBA-4860-AC25-66AB61261A96}" dt="2021-03-18T22:35:40.180" v="708" actId="20577"/>
        <pc:sldMkLst>
          <pc:docMk/>
          <pc:sldMk cId="3210478480" sldId="897"/>
        </pc:sldMkLst>
        <pc:spChg chg="mod">
          <ac:chgData name="christophe CHUECOS-FONT" userId="7e57acaa-4bc6-4644-8edc-0ecdded28594" providerId="ADAL" clId="{C2BEBF3A-ECBA-4860-AC25-66AB61261A96}" dt="2021-03-18T22:35:40.180" v="708" actId="20577"/>
          <ac:spMkLst>
            <pc:docMk/>
            <pc:sldMk cId="3210478480" sldId="897"/>
            <ac:spMk id="2" creationId="{63C23A44-953E-4DCE-A2FC-7526BBD520AD}"/>
          </ac:spMkLst>
        </pc:spChg>
      </pc:sldChg>
      <pc:sldChg chg="addSp delSp modSp add mod setClrOvrMap">
        <pc:chgData name="christophe CHUECOS-FONT" userId="7e57acaa-4bc6-4644-8edc-0ecdded28594" providerId="ADAL" clId="{C2BEBF3A-ECBA-4860-AC25-66AB61261A96}" dt="2021-03-18T22:50:32.702" v="829" actId="26606"/>
        <pc:sldMkLst>
          <pc:docMk/>
          <pc:sldMk cId="1288409538" sldId="898"/>
        </pc:sldMkLst>
        <pc:spChg chg="mod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2" creationId="{63C23A44-953E-4DCE-A2FC-7526BBD520AD}"/>
          </ac:spMkLst>
        </pc:spChg>
        <pc:spChg chg="del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9" creationId="{E91DC736-0EF8-4F87-9146-EBF1D2EE4D3D}"/>
          </ac:spMkLst>
        </pc:spChg>
        <pc:spChg chg="del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11" creationId="{097CD68E-23E3-4007-8847-CD0944C4F7BE}"/>
          </ac:spMkLst>
        </pc:spChg>
        <pc:spChg chg="del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13" creationId="{AF2F604E-43BE-4DC3-B983-E071523364F8}"/>
          </ac:spMkLst>
        </pc:spChg>
        <pc:spChg chg="del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15" creationId="{08C9B587-E65E-4B52-B37C-ABEBB6E87928}"/>
          </ac:spMkLst>
        </pc:spChg>
        <pc:spChg chg="add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20" creationId="{5A59F003-E00A-43F9-91DC-CC54E3B87466}"/>
          </ac:spMkLst>
        </pc:spChg>
        <pc:spChg chg="add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22" creationId="{D74A4382-E3AD-430A-9A1F-DFA3E0E77A7D}"/>
          </ac:spMkLst>
        </pc:spChg>
        <pc:spChg chg="add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24" creationId="{79F40191-0F44-4FD1-82CC-ACB507C14BE6}"/>
          </ac:spMkLst>
        </pc:spChg>
        <pc:picChg chg="mod">
          <ac:chgData name="christophe CHUECOS-FONT" userId="7e57acaa-4bc6-4644-8edc-0ecdded28594" providerId="ADAL" clId="{C2BEBF3A-ECBA-4860-AC25-66AB61261A96}" dt="2021-03-18T22:50:32.702" v="829" actId="26606"/>
          <ac:picMkLst>
            <pc:docMk/>
            <pc:sldMk cId="1288409538" sldId="898"/>
            <ac:picMk id="5" creationId="{040A7521-ECAB-4BBC-ADFA-3C6D881ABFA4}"/>
          </ac:picMkLst>
        </pc:picChg>
      </pc:sldChg>
      <pc:sldChg chg="addSp delSp modSp add mod ord">
        <pc:chgData name="christophe CHUECOS-FONT" userId="7e57acaa-4bc6-4644-8edc-0ecdded28594" providerId="ADAL" clId="{C2BEBF3A-ECBA-4860-AC25-66AB61261A96}" dt="2021-03-18T22:39:54.948" v="807" actId="14100"/>
        <pc:sldMkLst>
          <pc:docMk/>
          <pc:sldMk cId="3763403550" sldId="899"/>
        </pc:sldMkLst>
        <pc:spChg chg="mod">
          <ac:chgData name="christophe CHUECOS-FONT" userId="7e57acaa-4bc6-4644-8edc-0ecdded28594" providerId="ADAL" clId="{C2BEBF3A-ECBA-4860-AC25-66AB61261A96}" dt="2021-03-18T22:39:54.948" v="807" actId="14100"/>
          <ac:spMkLst>
            <pc:docMk/>
            <pc:sldMk cId="3763403550" sldId="899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" creationId="{9FA71A85-160A-4CFF-9241-BA71D421B86B}"/>
          </ac:spMkLst>
        </pc:spChg>
        <pc:spChg chg="add del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17" creationId="{100EDD19-6802-4EC3-95CE-CFFAB042CFD6}"/>
          </ac:spMkLst>
        </pc:spChg>
        <pc:spChg chg="add del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19" creationId="{DB17E863-922E-4C26-BD64-E8FD41D28661}"/>
          </ac:spMkLst>
        </pc:spChg>
        <pc:spChg chg="add del">
          <ac:chgData name="christophe CHUECOS-FONT" userId="7e57acaa-4bc6-4644-8edc-0ecdded28594" providerId="ADAL" clId="{C2BEBF3A-ECBA-4860-AC25-66AB61261A96}" dt="2021-03-18T22:38:22.994" v="797" actId="26606"/>
          <ac:spMkLst>
            <pc:docMk/>
            <pc:sldMk cId="3763403550" sldId="899"/>
            <ac:spMk id="24" creationId="{0B9EE3F3-89B7-43C3-8651-C4C96830993D}"/>
          </ac:spMkLst>
        </pc:spChg>
        <pc:spChg chg="add del">
          <ac:chgData name="christophe CHUECOS-FONT" userId="7e57acaa-4bc6-4644-8edc-0ecdded28594" providerId="ADAL" clId="{C2BEBF3A-ECBA-4860-AC25-66AB61261A96}" dt="2021-03-18T22:38:22.994" v="797" actId="26606"/>
          <ac:spMkLst>
            <pc:docMk/>
            <pc:sldMk cId="3763403550" sldId="899"/>
            <ac:spMk id="26" creationId="{33AE4636-AEEC-45D6-84D4-7AC2DA48ECF8}"/>
          </ac:spMkLst>
        </pc:spChg>
        <pc:spChg chg="add del">
          <ac:chgData name="christophe CHUECOS-FONT" userId="7e57acaa-4bc6-4644-8edc-0ecdded28594" providerId="ADAL" clId="{C2BEBF3A-ECBA-4860-AC25-66AB61261A96}" dt="2021-03-18T22:38:22.994" v="797" actId="26606"/>
          <ac:spMkLst>
            <pc:docMk/>
            <pc:sldMk cId="3763403550" sldId="899"/>
            <ac:spMk id="28" creationId="{8D9CE0F4-2EB2-4F1F-8AAC-DB3571D9FE10}"/>
          </ac:spMkLst>
        </pc:spChg>
        <pc:spChg chg="ad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0" creationId="{0570A85B-3810-4F95-97B0-CBF4CCDB381C}"/>
          </ac:spMkLst>
        </pc:spChg>
        <pc:spChg chg="ad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1" creationId="{2550BE34-C2B8-49B8-8519-67A8CAD51AE9}"/>
          </ac:spMkLst>
        </pc:spChg>
        <pc:spChg chg="ad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2" creationId="{A7457DD9-5A45-400A-AB4B-4B4EDECA25F1}"/>
          </ac:spMkLst>
        </pc:spChg>
        <pc:spChg chg="ad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3" creationId="{441CF7D6-A660-431A-B0BB-140A0D5556B6}"/>
          </ac:spMkLst>
        </pc:spChg>
        <pc:graphicFrameChg chg="add mod modGraphic">
          <ac:chgData name="christophe CHUECOS-FONT" userId="7e57acaa-4bc6-4644-8edc-0ecdded28594" providerId="ADAL" clId="{C2BEBF3A-ECBA-4860-AC25-66AB61261A96}" dt="2021-03-18T22:39:28.915" v="802" actId="207"/>
          <ac:graphicFrameMkLst>
            <pc:docMk/>
            <pc:sldMk cId="3763403550" sldId="899"/>
            <ac:graphicFrameMk id="4" creationId="{899E9AA8-912A-43B7-A4FB-BE9A9DE6E87E}"/>
          </ac:graphicFrameMkLst>
        </pc:graphicFrameChg>
        <pc:picChg chg="del">
          <ac:chgData name="christophe CHUECOS-FONT" userId="7e57acaa-4bc6-4644-8edc-0ecdded28594" providerId="ADAL" clId="{C2BEBF3A-ECBA-4860-AC25-66AB61261A96}" dt="2021-03-18T22:36:48.765" v="750" actId="478"/>
          <ac:picMkLst>
            <pc:docMk/>
            <pc:sldMk cId="3763403550" sldId="899"/>
            <ac:picMk id="5" creationId="{A1D02FCC-25C3-466A-AA38-333553E41D2F}"/>
          </ac:picMkLst>
        </pc:picChg>
      </pc:sldChg>
      <pc:sldChg chg="addSp delSp modSp add del mod ord">
        <pc:chgData name="christophe CHUECOS-FONT" userId="7e57acaa-4bc6-4644-8edc-0ecdded28594" providerId="ADAL" clId="{C2BEBF3A-ECBA-4860-AC25-66AB61261A96}" dt="2021-03-18T22:49:45.438" v="825" actId="47"/>
        <pc:sldMkLst>
          <pc:docMk/>
          <pc:sldMk cId="1354499749" sldId="900"/>
        </pc:sldMkLst>
        <pc:spChg chg="mod">
          <ac:chgData name="christophe CHUECOS-FONT" userId="7e57acaa-4bc6-4644-8edc-0ecdded28594" providerId="ADAL" clId="{C2BEBF3A-ECBA-4860-AC25-66AB61261A96}" dt="2021-03-18T22:40:19.563" v="810" actId="20577"/>
          <ac:spMkLst>
            <pc:docMk/>
            <pc:sldMk cId="1354499749" sldId="900"/>
            <ac:spMk id="2" creationId="{AEFCB68E-E041-4E46-A233-3C2208DA32CB}"/>
          </ac:spMkLst>
        </pc:spChg>
        <pc:graphicFrameChg chg="del modGraphic">
          <ac:chgData name="christophe CHUECOS-FONT" userId="7e57acaa-4bc6-4644-8edc-0ecdded28594" providerId="ADAL" clId="{C2BEBF3A-ECBA-4860-AC25-66AB61261A96}" dt="2021-03-18T22:48:11.265" v="814" actId="478"/>
          <ac:graphicFrameMkLst>
            <pc:docMk/>
            <pc:sldMk cId="1354499749" sldId="900"/>
            <ac:graphicFrameMk id="4" creationId="{899E9AA8-912A-43B7-A4FB-BE9A9DE6E87E}"/>
          </ac:graphicFrameMkLst>
        </pc:graphicFrameChg>
        <pc:picChg chg="add mod">
          <ac:chgData name="christophe CHUECOS-FONT" userId="7e57acaa-4bc6-4644-8edc-0ecdded28594" providerId="ADAL" clId="{C2BEBF3A-ECBA-4860-AC25-66AB61261A96}" dt="2021-03-18T22:48:49.498" v="817" actId="14100"/>
          <ac:picMkLst>
            <pc:docMk/>
            <pc:sldMk cId="1354499749" sldId="900"/>
            <ac:picMk id="6" creationId="{97F6DE1E-D78E-4F04-A0E2-7B5A8D9AE6C6}"/>
          </ac:picMkLst>
        </pc:picChg>
      </pc:sldChg>
      <pc:sldChg chg="addSp delSp modSp new mod">
        <pc:chgData name="christophe CHUECOS-FONT" userId="7e57acaa-4bc6-4644-8edc-0ecdded28594" providerId="ADAL" clId="{C2BEBF3A-ECBA-4860-AC25-66AB61261A96}" dt="2021-03-18T22:49:27.867" v="823" actId="14100"/>
        <pc:sldMkLst>
          <pc:docMk/>
          <pc:sldMk cId="456064155" sldId="901"/>
        </pc:sldMkLst>
        <pc:spChg chg="del mod">
          <ac:chgData name="christophe CHUECOS-FONT" userId="7e57acaa-4bc6-4644-8edc-0ecdded28594" providerId="ADAL" clId="{C2BEBF3A-ECBA-4860-AC25-66AB61261A96}" dt="2021-03-18T22:49:20.690" v="821" actId="21"/>
          <ac:spMkLst>
            <pc:docMk/>
            <pc:sldMk cId="456064155" sldId="901"/>
            <ac:spMk id="2" creationId="{563C3254-B9AA-4645-B47F-E86EDD9EE1B8}"/>
          </ac:spMkLst>
        </pc:spChg>
        <pc:spChg chg="del">
          <ac:chgData name="christophe CHUECOS-FONT" userId="7e57acaa-4bc6-4644-8edc-0ecdded28594" providerId="ADAL" clId="{C2BEBF3A-ECBA-4860-AC25-66AB61261A96}" dt="2021-03-18T22:49:13.704" v="819" actId="931"/>
          <ac:spMkLst>
            <pc:docMk/>
            <pc:sldMk cId="456064155" sldId="901"/>
            <ac:spMk id="3" creationId="{247BF5D3-CBCB-4451-B5D9-9A160E93ADC1}"/>
          </ac:spMkLst>
        </pc:spChg>
        <pc:picChg chg="add mod">
          <ac:chgData name="christophe CHUECOS-FONT" userId="7e57acaa-4bc6-4644-8edc-0ecdded28594" providerId="ADAL" clId="{C2BEBF3A-ECBA-4860-AC25-66AB61261A96}" dt="2021-03-18T22:49:27.867" v="823" actId="14100"/>
          <ac:picMkLst>
            <pc:docMk/>
            <pc:sldMk cId="456064155" sldId="901"/>
            <ac:picMk id="5" creationId="{9E5A8C8C-819C-46F4-AB03-862877E6AC92}"/>
          </ac:picMkLst>
        </pc:picChg>
      </pc:sldChg>
      <pc:sldChg chg="modSp add mod">
        <pc:chgData name="christophe CHUECOS-FONT" userId="7e57acaa-4bc6-4644-8edc-0ecdded28594" providerId="ADAL" clId="{C2BEBF3A-ECBA-4860-AC25-66AB61261A96}" dt="2021-03-18T22:50:07.949" v="827" actId="14100"/>
        <pc:sldMkLst>
          <pc:docMk/>
          <pc:sldMk cId="3566007874" sldId="902"/>
        </pc:sldMkLst>
        <pc:picChg chg="mod">
          <ac:chgData name="christophe CHUECOS-FONT" userId="7e57acaa-4bc6-4644-8edc-0ecdded28594" providerId="ADAL" clId="{C2BEBF3A-ECBA-4860-AC25-66AB61261A96}" dt="2021-03-18T22:50:07.949" v="827" actId="14100"/>
          <ac:picMkLst>
            <pc:docMk/>
            <pc:sldMk cId="3566007874" sldId="902"/>
            <ac:picMk id="5" creationId="{9E5A8C8C-819C-46F4-AB03-862877E6AC92}"/>
          </ac:picMkLst>
        </pc:picChg>
      </pc:sldChg>
      <pc:sldChg chg="addSp modSp new mod setBg">
        <pc:chgData name="christophe CHUECOS-FONT" userId="7e57acaa-4bc6-4644-8edc-0ecdded28594" providerId="ADAL" clId="{C2BEBF3A-ECBA-4860-AC25-66AB61261A96}" dt="2021-03-18T23:37:09.809" v="1693" actId="26606"/>
        <pc:sldMkLst>
          <pc:docMk/>
          <pc:sldMk cId="518596460" sldId="903"/>
        </pc:sldMkLst>
        <pc:spChg chg="mo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2" creationId="{41644713-AF21-4543-94FE-A96FEBAA2B11}"/>
          </ac:spMkLst>
        </pc:spChg>
        <pc:spChg chg="mo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3" creationId="{6E6AB3AA-03B3-4E7A-94A3-3EB3E0E9D005}"/>
          </ac:spMkLst>
        </pc:spChg>
        <pc:spChg chg="ad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8" creationId="{1ACA2EA0-FFD3-42EC-9406-B595015ED96E}"/>
          </ac:spMkLst>
        </pc:spChg>
        <pc:spChg chg="ad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10" creationId="{D5288BCE-665C-472A-8C43-664BCFA31E43}"/>
          </ac:spMkLst>
        </pc:spChg>
        <pc:spChg chg="ad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12" creationId="{46C57131-53A7-4C1A-BEA8-25F06A06AD29}"/>
          </ac:spMkLst>
        </pc:spChg>
      </pc:sldChg>
      <pc:sldChg chg="addSp delSp modSp add mod ord setBg setClrOvrMap">
        <pc:chgData name="christophe CHUECOS-FONT" userId="7e57acaa-4bc6-4644-8edc-0ecdded28594" providerId="ADAL" clId="{C2BEBF3A-ECBA-4860-AC25-66AB61261A96}" dt="2021-03-18T23:43:37.528" v="1750" actId="6549"/>
        <pc:sldMkLst>
          <pc:docMk/>
          <pc:sldMk cId="2856685236" sldId="904"/>
        </pc:sldMkLst>
        <pc:spChg chg="mod">
          <ac:chgData name="christophe CHUECOS-FONT" userId="7e57acaa-4bc6-4644-8edc-0ecdded28594" providerId="ADAL" clId="{C2BEBF3A-ECBA-4860-AC25-66AB61261A96}" dt="2021-03-18T23:36:53.360" v="1692" actId="26606"/>
          <ac:spMkLst>
            <pc:docMk/>
            <pc:sldMk cId="2856685236" sldId="904"/>
            <ac:spMk id="2" creationId="{02517F6E-26E9-44E8-815E-774552D95FD0}"/>
          </ac:spMkLst>
        </pc:spChg>
        <pc:spChg chg="mod ord">
          <ac:chgData name="christophe CHUECOS-FONT" userId="7e57acaa-4bc6-4644-8edc-0ecdded28594" providerId="ADAL" clId="{C2BEBF3A-ECBA-4860-AC25-66AB61261A96}" dt="2021-03-18T23:43:37.528" v="1750" actId="6549"/>
          <ac:spMkLst>
            <pc:docMk/>
            <pc:sldMk cId="2856685236" sldId="904"/>
            <ac:spMk id="5" creationId="{DFEA2082-E7DE-4453-8158-54F380B94285}"/>
          </ac:spMkLst>
        </pc:spChg>
        <pc:spChg chg="del">
          <ac:chgData name="christophe CHUECOS-FONT" userId="7e57acaa-4bc6-4644-8edc-0ecdded28594" providerId="ADAL" clId="{C2BEBF3A-ECBA-4860-AC25-66AB61261A96}" dt="2021-03-18T23:36:53.360" v="1692" actId="26606"/>
          <ac:spMkLst>
            <pc:docMk/>
            <pc:sldMk cId="2856685236" sldId="904"/>
            <ac:spMk id="77" creationId="{8537B233-9CDD-4A90-AABB-A8963DEE4FBC}"/>
          </ac:spMkLst>
        </pc:spChg>
        <pc:spChg chg="add">
          <ac:chgData name="christophe CHUECOS-FONT" userId="7e57acaa-4bc6-4644-8edc-0ecdded28594" providerId="ADAL" clId="{C2BEBF3A-ECBA-4860-AC25-66AB61261A96}" dt="2021-03-18T23:36:53.360" v="1692" actId="26606"/>
          <ac:spMkLst>
            <pc:docMk/>
            <pc:sldMk cId="2856685236" sldId="904"/>
            <ac:spMk id="84" creationId="{23E547B5-89CF-4EC0-96DE-25771AED0799}"/>
          </ac:spMkLst>
        </pc:spChg>
        <pc:spChg chg="add">
          <ac:chgData name="christophe CHUECOS-FONT" userId="7e57acaa-4bc6-4644-8edc-0ecdded28594" providerId="ADAL" clId="{C2BEBF3A-ECBA-4860-AC25-66AB61261A96}" dt="2021-03-18T23:36:53.360" v="1692" actId="26606"/>
          <ac:spMkLst>
            <pc:docMk/>
            <pc:sldMk cId="2856685236" sldId="904"/>
            <ac:spMk id="86" creationId="{3F0B8CEB-8279-4E5E-A0CE-1FC9F71736F2}"/>
          </ac:spMkLst>
        </pc:spChg>
        <pc:picChg chg="mod">
          <ac:chgData name="christophe CHUECOS-FONT" userId="7e57acaa-4bc6-4644-8edc-0ecdded28594" providerId="ADAL" clId="{C2BEBF3A-ECBA-4860-AC25-66AB61261A96}" dt="2021-03-18T23:36:53.360" v="1692" actId="26606"/>
          <ac:picMkLst>
            <pc:docMk/>
            <pc:sldMk cId="2856685236" sldId="904"/>
            <ac:picMk id="36" creationId="{FC9EF324-339C-4E46-9508-BF0C86AAC793}"/>
          </ac:picMkLst>
        </pc:picChg>
        <pc:cxnChg chg="del">
          <ac:chgData name="christophe CHUECOS-FONT" userId="7e57acaa-4bc6-4644-8edc-0ecdded28594" providerId="ADAL" clId="{C2BEBF3A-ECBA-4860-AC25-66AB61261A96}" dt="2021-03-18T23:36:53.360" v="1692" actId="26606"/>
          <ac:cxnSpMkLst>
            <pc:docMk/>
            <pc:sldMk cId="2856685236" sldId="904"/>
            <ac:cxnSpMk id="79" creationId="{040575EE-C594-4566-BC00-663004E52AB5}"/>
          </ac:cxnSpMkLst>
        </pc:cxnChg>
      </pc:sldChg>
      <pc:sldChg chg="modSp add mod ord">
        <pc:chgData name="christophe CHUECOS-FONT" userId="7e57acaa-4bc6-4644-8edc-0ecdded28594" providerId="ADAL" clId="{C2BEBF3A-ECBA-4860-AC25-66AB61261A96}" dt="2021-03-18T22:55:00.066" v="879" actId="6549"/>
        <pc:sldMkLst>
          <pc:docMk/>
          <pc:sldMk cId="963568808" sldId="905"/>
        </pc:sldMkLst>
        <pc:spChg chg="mod">
          <ac:chgData name="christophe CHUECOS-FONT" userId="7e57acaa-4bc6-4644-8edc-0ecdded28594" providerId="ADAL" clId="{C2BEBF3A-ECBA-4860-AC25-66AB61261A96}" dt="2021-03-18T22:55:00.066" v="879" actId="6549"/>
          <ac:spMkLst>
            <pc:docMk/>
            <pc:sldMk cId="963568808" sldId="905"/>
            <ac:spMk id="5" creationId="{DFEA2082-E7DE-4453-8158-54F380B94285}"/>
          </ac:spMkLst>
        </pc:spChg>
      </pc:sldChg>
      <pc:sldChg chg="modSp add mod ord">
        <pc:chgData name="christophe CHUECOS-FONT" userId="7e57acaa-4bc6-4644-8edc-0ecdded28594" providerId="ADAL" clId="{C2BEBF3A-ECBA-4860-AC25-66AB61261A96}" dt="2021-03-18T23:03:35.194" v="1562" actId="13926"/>
        <pc:sldMkLst>
          <pc:docMk/>
          <pc:sldMk cId="2413877595" sldId="906"/>
        </pc:sldMkLst>
        <pc:spChg chg="mod">
          <ac:chgData name="christophe CHUECOS-FONT" userId="7e57acaa-4bc6-4644-8edc-0ecdded28594" providerId="ADAL" clId="{C2BEBF3A-ECBA-4860-AC25-66AB61261A96}" dt="2021-03-18T23:00:51.209" v="1388" actId="20577"/>
          <ac:spMkLst>
            <pc:docMk/>
            <pc:sldMk cId="2413877595" sldId="906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C2BEBF3A-ECBA-4860-AC25-66AB61261A96}" dt="2021-03-18T23:03:35.194" v="1562" actId="13926"/>
          <ac:spMkLst>
            <pc:docMk/>
            <pc:sldMk cId="2413877595" sldId="906"/>
            <ac:spMk id="3" creationId="{9FA71A85-160A-4CFF-9241-BA71D421B86B}"/>
          </ac:spMkLst>
        </pc:spChg>
      </pc:sldChg>
      <pc:sldChg chg="addSp modSp add mod">
        <pc:chgData name="christophe CHUECOS-FONT" userId="7e57acaa-4bc6-4644-8edc-0ecdded28594" providerId="ADAL" clId="{C2BEBF3A-ECBA-4860-AC25-66AB61261A96}" dt="2021-03-18T23:36:29.851" v="1691" actId="20577"/>
        <pc:sldMkLst>
          <pc:docMk/>
          <pc:sldMk cId="606901911" sldId="907"/>
        </pc:sldMkLst>
        <pc:spChg chg="mod">
          <ac:chgData name="christophe CHUECOS-FONT" userId="7e57acaa-4bc6-4644-8edc-0ecdded28594" providerId="ADAL" clId="{C2BEBF3A-ECBA-4860-AC25-66AB61261A96}" dt="2021-03-18T23:36:29.851" v="1691" actId="20577"/>
          <ac:spMkLst>
            <pc:docMk/>
            <pc:sldMk cId="606901911" sldId="907"/>
            <ac:spMk id="3" creationId="{6E6AB3AA-03B3-4E7A-94A3-3EB3E0E9D005}"/>
          </ac:spMkLst>
        </pc:spChg>
        <pc:graphicFrameChg chg="add mod modGraphic">
          <ac:chgData name="christophe CHUECOS-FONT" userId="7e57acaa-4bc6-4644-8edc-0ecdded28594" providerId="ADAL" clId="{C2BEBF3A-ECBA-4860-AC25-66AB61261A96}" dt="2021-03-18T23:36:19.589" v="1676" actId="255"/>
          <ac:graphicFrameMkLst>
            <pc:docMk/>
            <pc:sldMk cId="606901911" sldId="907"/>
            <ac:graphicFrameMk id="4" creationId="{AD30B320-E949-46DE-88E4-430E435C5149}"/>
          </ac:graphicFrameMkLst>
        </pc:graphicFrameChg>
      </pc:sldChg>
      <pc:sldChg chg="addSp delSp modSp add mod">
        <pc:chgData name="christophe CHUECOS-FONT" userId="7e57acaa-4bc6-4644-8edc-0ecdded28594" providerId="ADAL" clId="{C2BEBF3A-ECBA-4860-AC25-66AB61261A96}" dt="2021-03-18T23:39:34.788" v="1718" actId="14100"/>
        <pc:sldMkLst>
          <pc:docMk/>
          <pc:sldMk cId="3810924798" sldId="908"/>
        </pc:sldMkLst>
        <pc:spChg chg="del mod">
          <ac:chgData name="christophe CHUECOS-FONT" userId="7e57acaa-4bc6-4644-8edc-0ecdded28594" providerId="ADAL" clId="{C2BEBF3A-ECBA-4860-AC25-66AB61261A96}" dt="2021-03-18T23:38:36.079" v="1710"/>
          <ac:spMkLst>
            <pc:docMk/>
            <pc:sldMk cId="3810924798" sldId="908"/>
            <ac:spMk id="3" creationId="{6E6AB3AA-03B3-4E7A-94A3-3EB3E0E9D005}"/>
          </ac:spMkLst>
        </pc:spChg>
        <pc:graphicFrameChg chg="del">
          <ac:chgData name="christophe CHUECOS-FONT" userId="7e57acaa-4bc6-4644-8edc-0ecdded28594" providerId="ADAL" clId="{C2BEBF3A-ECBA-4860-AC25-66AB61261A96}" dt="2021-03-18T23:38:25.863" v="1695" actId="478"/>
          <ac:graphicFrameMkLst>
            <pc:docMk/>
            <pc:sldMk cId="3810924798" sldId="908"/>
            <ac:graphicFrameMk id="4" creationId="{AD30B320-E949-46DE-88E4-430E435C5149}"/>
          </ac:graphicFrameMkLst>
        </pc:graphicFrameChg>
        <pc:graphicFrameChg chg="add mod modGraphic">
          <ac:chgData name="christophe CHUECOS-FONT" userId="7e57acaa-4bc6-4644-8edc-0ecdded28594" providerId="ADAL" clId="{C2BEBF3A-ECBA-4860-AC25-66AB61261A96}" dt="2021-03-18T23:39:34.788" v="1718" actId="14100"/>
          <ac:graphicFrameMkLst>
            <pc:docMk/>
            <pc:sldMk cId="3810924798" sldId="908"/>
            <ac:graphicFrameMk id="5" creationId="{43C069CA-369C-4FE3-84C1-BB47F63F8528}"/>
          </ac:graphicFrameMkLst>
        </pc:graphicFrameChg>
      </pc:sldChg>
      <pc:sldChg chg="addSp delSp modSp add mod addCm">
        <pc:chgData name="christophe CHUECOS-FONT" userId="7e57acaa-4bc6-4644-8edc-0ecdded28594" providerId="ADAL" clId="{C2BEBF3A-ECBA-4860-AC25-66AB61261A96}" dt="2021-03-18T23:42:33.889" v="1736" actId="14100"/>
        <pc:sldMkLst>
          <pc:docMk/>
          <pc:sldMk cId="1480198139" sldId="909"/>
        </pc:sldMkLst>
        <pc:spChg chg="del">
          <ac:chgData name="christophe CHUECOS-FONT" userId="7e57acaa-4bc6-4644-8edc-0ecdded28594" providerId="ADAL" clId="{C2BEBF3A-ECBA-4860-AC25-66AB61261A96}" dt="2021-03-18T23:41:17.645" v="1727" actId="21"/>
          <ac:spMkLst>
            <pc:docMk/>
            <pc:sldMk cId="1480198139" sldId="909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C2BEBF3A-ECBA-4860-AC25-66AB61261A96}" dt="2021-03-18T23:40:50.116" v="1724"/>
          <ac:spMkLst>
            <pc:docMk/>
            <pc:sldMk cId="1480198139" sldId="909"/>
            <ac:spMk id="4" creationId="{23EFB48C-8B05-432F-B3CA-70CF4B54BE2A}"/>
          </ac:spMkLst>
        </pc:spChg>
        <pc:spChg chg="add del mod">
          <ac:chgData name="christophe CHUECOS-FONT" userId="7e57acaa-4bc6-4644-8edc-0ecdded28594" providerId="ADAL" clId="{C2BEBF3A-ECBA-4860-AC25-66AB61261A96}" dt="2021-03-18T23:41:59.174" v="1732" actId="21"/>
          <ac:spMkLst>
            <pc:docMk/>
            <pc:sldMk cId="1480198139" sldId="909"/>
            <ac:spMk id="8" creationId="{67B91E09-3E36-47DC-B23D-CA7F469C5F77}"/>
          </ac:spMkLst>
        </pc:spChg>
        <pc:spChg chg="add del mod">
          <ac:chgData name="christophe CHUECOS-FONT" userId="7e57acaa-4bc6-4644-8edc-0ecdded28594" providerId="ADAL" clId="{C2BEBF3A-ECBA-4860-AC25-66AB61261A96}" dt="2021-03-18T23:41:48.405" v="1731"/>
          <ac:spMkLst>
            <pc:docMk/>
            <pc:sldMk cId="1480198139" sldId="909"/>
            <ac:spMk id="10" creationId="{530FEB83-F28E-4450-AFD7-75C29BD02B31}"/>
          </ac:spMkLst>
        </pc:spChg>
        <pc:spChg chg="add del mod">
          <ac:chgData name="christophe CHUECOS-FONT" userId="7e57acaa-4bc6-4644-8edc-0ecdded28594" providerId="ADAL" clId="{C2BEBF3A-ECBA-4860-AC25-66AB61261A96}" dt="2021-03-18T23:41:27.290" v="1729" actId="21"/>
          <ac:spMkLst>
            <pc:docMk/>
            <pc:sldMk cId="1480198139" sldId="909"/>
            <ac:spMk id="11" creationId="{18543A2C-569F-4216-9CE3-E201FE2A80B5}"/>
          </ac:spMkLst>
        </pc:spChg>
        <pc:graphicFrameChg chg="del mod modGraphic">
          <ac:chgData name="christophe CHUECOS-FONT" userId="7e57acaa-4bc6-4644-8edc-0ecdded28594" providerId="ADAL" clId="{C2BEBF3A-ECBA-4860-AC25-66AB61261A96}" dt="2021-03-18T23:40:10.151" v="1723" actId="21"/>
          <ac:graphicFrameMkLst>
            <pc:docMk/>
            <pc:sldMk cId="1480198139" sldId="909"/>
            <ac:graphicFrameMk id="5" creationId="{43C069CA-369C-4FE3-84C1-BB47F63F8528}"/>
          </ac:graphicFrameMkLst>
        </pc:graphicFrameChg>
        <pc:graphicFrameChg chg="add del mod modGraphic">
          <ac:chgData name="christophe CHUECOS-FONT" userId="7e57acaa-4bc6-4644-8edc-0ecdded28594" providerId="ADAL" clId="{C2BEBF3A-ECBA-4860-AC25-66AB61261A96}" dt="2021-03-18T23:41:17.645" v="1727" actId="21"/>
          <ac:graphicFrameMkLst>
            <pc:docMk/>
            <pc:sldMk cId="1480198139" sldId="909"/>
            <ac:graphicFrameMk id="6" creationId="{E5CEB532-113F-44BB-89D7-7CB8490AEFFC}"/>
          </ac:graphicFrameMkLst>
        </pc:graphicFrameChg>
        <pc:graphicFrameChg chg="add del mod">
          <ac:chgData name="christophe CHUECOS-FONT" userId="7e57acaa-4bc6-4644-8edc-0ecdded28594" providerId="ADAL" clId="{C2BEBF3A-ECBA-4860-AC25-66AB61261A96}" dt="2021-03-18T23:41:27.290" v="1729" actId="21"/>
          <ac:graphicFrameMkLst>
            <pc:docMk/>
            <pc:sldMk cId="1480198139" sldId="909"/>
            <ac:graphicFrameMk id="12" creationId="{3F2BC7C0-3058-45B5-831C-2A0247FF33A6}"/>
          </ac:graphicFrameMkLst>
        </pc:graphicFrameChg>
        <pc:graphicFrameChg chg="add mod modGraphic">
          <ac:chgData name="christophe CHUECOS-FONT" userId="7e57acaa-4bc6-4644-8edc-0ecdded28594" providerId="ADAL" clId="{C2BEBF3A-ECBA-4860-AC25-66AB61261A96}" dt="2021-03-18T23:42:33.889" v="1736" actId="14100"/>
          <ac:graphicFrameMkLst>
            <pc:docMk/>
            <pc:sldMk cId="1480198139" sldId="909"/>
            <ac:graphicFrameMk id="13" creationId="{6EB9F717-B5A8-4A5D-B160-A8BE78AE15BF}"/>
          </ac:graphicFrameMkLst>
        </pc:graphicFrameChg>
      </pc:sldChg>
      <pc:sldChg chg="modSp add mod ord">
        <pc:chgData name="christophe CHUECOS-FONT" userId="7e57acaa-4bc6-4644-8edc-0ecdded28594" providerId="ADAL" clId="{C2BEBF3A-ECBA-4860-AC25-66AB61261A96}" dt="2021-03-18T23:43:18.317" v="1742" actId="255"/>
        <pc:sldMkLst>
          <pc:docMk/>
          <pc:sldMk cId="4043781952" sldId="910"/>
        </pc:sldMkLst>
        <pc:spChg chg="mod">
          <ac:chgData name="christophe CHUECOS-FONT" userId="7e57acaa-4bc6-4644-8edc-0ecdded28594" providerId="ADAL" clId="{C2BEBF3A-ECBA-4860-AC25-66AB61261A96}" dt="2021-03-18T23:43:18.317" v="1742" actId="255"/>
          <ac:spMkLst>
            <pc:docMk/>
            <pc:sldMk cId="4043781952" sldId="910"/>
            <ac:spMk id="5" creationId="{DFEA2082-E7DE-4453-8158-54F380B94285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8DCA710-9AD8-487D-A78F-EB2FE6692888}" type="doc">
      <dgm:prSet loTypeId="urn:microsoft.com/office/officeart/2005/8/layout/vList5" loCatId="list" qsTypeId="urn:microsoft.com/office/officeart/2005/8/quickstyle/3d2" qsCatId="3D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C4931C45-9230-42C7-8F63-311C742D02D6}">
      <dgm:prSet phldrT="[Texte]"/>
      <dgm:spPr/>
      <dgm:t>
        <a:bodyPr/>
        <a:lstStyle/>
        <a:p>
          <a:r>
            <a:rPr lang="fr-FR" b="1" dirty="0"/>
            <a:t>TVA</a:t>
          </a:r>
        </a:p>
      </dgm:t>
    </dgm:pt>
    <dgm:pt modelId="{BC2BA275-12D2-45B1-A6A3-8AC207CADC2F}" type="parTrans" cxnId="{8423B81D-3006-454B-ADDF-9A6338A02B23}">
      <dgm:prSet/>
      <dgm:spPr/>
      <dgm:t>
        <a:bodyPr/>
        <a:lstStyle/>
        <a:p>
          <a:endParaRPr lang="fr-FR" b="1"/>
        </a:p>
      </dgm:t>
    </dgm:pt>
    <dgm:pt modelId="{E9F87131-0D83-417B-A1C9-DBCB9CE35CC7}" type="sibTrans" cxnId="{8423B81D-3006-454B-ADDF-9A6338A02B23}">
      <dgm:prSet/>
      <dgm:spPr/>
      <dgm:t>
        <a:bodyPr/>
        <a:lstStyle/>
        <a:p>
          <a:endParaRPr lang="fr-FR" b="1"/>
        </a:p>
      </dgm:t>
    </dgm:pt>
    <dgm:pt modelId="{8FFC4A4B-D7F5-4E55-83B5-54CCE2FD1458}">
      <dgm:prSet phldrT="[Texte]"/>
      <dgm:spPr/>
      <dgm:t>
        <a:bodyPr/>
        <a:lstStyle/>
        <a:p>
          <a:r>
            <a:rPr lang="fr-FR" b="1" dirty="0"/>
            <a:t>Taxe sur la valeur ajoutée</a:t>
          </a:r>
        </a:p>
      </dgm:t>
    </dgm:pt>
    <dgm:pt modelId="{9C832D7D-1195-4ED7-B26A-100767324D0E}" type="parTrans" cxnId="{9132F9C1-3CD1-43C9-BEC3-D97E7062F774}">
      <dgm:prSet/>
      <dgm:spPr/>
      <dgm:t>
        <a:bodyPr/>
        <a:lstStyle/>
        <a:p>
          <a:endParaRPr lang="fr-FR" b="1"/>
        </a:p>
      </dgm:t>
    </dgm:pt>
    <dgm:pt modelId="{9EE3EA5B-B9F0-42FA-BB45-36C12A1071F7}" type="sibTrans" cxnId="{9132F9C1-3CD1-43C9-BEC3-D97E7062F774}">
      <dgm:prSet/>
      <dgm:spPr/>
      <dgm:t>
        <a:bodyPr/>
        <a:lstStyle/>
        <a:p>
          <a:endParaRPr lang="fr-FR" b="1"/>
        </a:p>
      </dgm:t>
    </dgm:pt>
    <dgm:pt modelId="{D44573C7-0823-4A55-A932-2418606E6514}">
      <dgm:prSet phldrT="[Texte]"/>
      <dgm:spPr/>
      <dgm:t>
        <a:bodyPr/>
        <a:lstStyle/>
        <a:p>
          <a:r>
            <a:rPr lang="fr-FR" b="1" dirty="0"/>
            <a:t>Assujetti</a:t>
          </a:r>
        </a:p>
      </dgm:t>
    </dgm:pt>
    <dgm:pt modelId="{20755DAB-206A-4002-9725-5984AC7B0EC2}" type="parTrans" cxnId="{41112F4C-5408-4424-A584-9585EB9A3E26}">
      <dgm:prSet/>
      <dgm:spPr/>
      <dgm:t>
        <a:bodyPr/>
        <a:lstStyle/>
        <a:p>
          <a:endParaRPr lang="fr-FR" b="1"/>
        </a:p>
      </dgm:t>
    </dgm:pt>
    <dgm:pt modelId="{130D5AB2-F246-44D0-91DC-D15F3D107220}" type="sibTrans" cxnId="{41112F4C-5408-4424-A584-9585EB9A3E26}">
      <dgm:prSet/>
      <dgm:spPr/>
      <dgm:t>
        <a:bodyPr/>
        <a:lstStyle/>
        <a:p>
          <a:endParaRPr lang="fr-FR" b="1"/>
        </a:p>
      </dgm:t>
    </dgm:pt>
    <dgm:pt modelId="{2AD8305E-093E-4D56-A7B4-C87D92BDB72B}">
      <dgm:prSet phldrT="[Texte]"/>
      <dgm:spPr/>
      <dgm:t>
        <a:bodyPr/>
        <a:lstStyle/>
        <a:p>
          <a:r>
            <a:rPr lang="fr-FR" b="1" dirty="0"/>
            <a:t>TVA collectée</a:t>
          </a:r>
        </a:p>
      </dgm:t>
    </dgm:pt>
    <dgm:pt modelId="{48AC2631-B1BE-42F5-81E4-5415CFEA9F7A}" type="parTrans" cxnId="{E78D4962-EC8B-4E5C-A9F1-5DFB86EA3026}">
      <dgm:prSet/>
      <dgm:spPr/>
      <dgm:t>
        <a:bodyPr/>
        <a:lstStyle/>
        <a:p>
          <a:endParaRPr lang="fr-FR" b="1"/>
        </a:p>
      </dgm:t>
    </dgm:pt>
    <dgm:pt modelId="{29360A43-8978-48E4-BFD4-9741BD5D806B}" type="sibTrans" cxnId="{E78D4962-EC8B-4E5C-A9F1-5DFB86EA3026}">
      <dgm:prSet/>
      <dgm:spPr/>
      <dgm:t>
        <a:bodyPr/>
        <a:lstStyle/>
        <a:p>
          <a:endParaRPr lang="fr-FR" b="1"/>
        </a:p>
      </dgm:t>
    </dgm:pt>
    <dgm:pt modelId="{B7C26F3F-8BDF-4376-BB16-C057F4072F03}">
      <dgm:prSet/>
      <dgm:spPr/>
      <dgm:t>
        <a:bodyPr/>
        <a:lstStyle/>
        <a:p>
          <a:r>
            <a:rPr lang="fr-FR" b="1" dirty="0"/>
            <a:t>Personne imposable en matière de TVA</a:t>
          </a:r>
        </a:p>
      </dgm:t>
    </dgm:pt>
    <dgm:pt modelId="{748DF5FC-8EB1-444D-9458-5846F7203221}" type="parTrans" cxnId="{6BA4F80D-5879-46E5-B895-4AE771C8ACC5}">
      <dgm:prSet/>
      <dgm:spPr/>
      <dgm:t>
        <a:bodyPr/>
        <a:lstStyle/>
        <a:p>
          <a:endParaRPr lang="fr-FR" b="1"/>
        </a:p>
      </dgm:t>
    </dgm:pt>
    <dgm:pt modelId="{BDFC6A5A-A684-49F1-A6FC-BC124926B62F}" type="sibTrans" cxnId="{6BA4F80D-5879-46E5-B895-4AE771C8ACC5}">
      <dgm:prSet/>
      <dgm:spPr/>
      <dgm:t>
        <a:bodyPr/>
        <a:lstStyle/>
        <a:p>
          <a:endParaRPr lang="fr-FR" b="1"/>
        </a:p>
      </dgm:t>
    </dgm:pt>
    <dgm:pt modelId="{C6FA4DC6-95C2-4AA3-84BA-C5A5A4A820EE}">
      <dgm:prSet phldrT="[Texte]"/>
      <dgm:spPr/>
      <dgm:t>
        <a:bodyPr/>
        <a:lstStyle/>
        <a:p>
          <a:r>
            <a:rPr lang="fr-FR" b="1" dirty="0"/>
            <a:t>TVA déductible</a:t>
          </a:r>
        </a:p>
      </dgm:t>
    </dgm:pt>
    <dgm:pt modelId="{F05A63F1-C15B-4640-B0AC-F3FC2C791A41}" type="parTrans" cxnId="{C8DECA2B-734A-4845-AE2C-19ADEAA3801A}">
      <dgm:prSet/>
      <dgm:spPr/>
      <dgm:t>
        <a:bodyPr/>
        <a:lstStyle/>
        <a:p>
          <a:endParaRPr lang="fr-FR" b="1"/>
        </a:p>
      </dgm:t>
    </dgm:pt>
    <dgm:pt modelId="{E0916A44-490C-4E80-B360-08416112DACA}" type="sibTrans" cxnId="{C8DECA2B-734A-4845-AE2C-19ADEAA3801A}">
      <dgm:prSet/>
      <dgm:spPr/>
      <dgm:t>
        <a:bodyPr/>
        <a:lstStyle/>
        <a:p>
          <a:endParaRPr lang="fr-FR" b="1"/>
        </a:p>
      </dgm:t>
    </dgm:pt>
    <dgm:pt modelId="{CDC62464-00ED-4C73-94BA-B56ADD96446C}">
      <dgm:prSet phldrT="[Texte]"/>
      <dgm:spPr/>
      <dgm:t>
        <a:bodyPr/>
        <a:lstStyle/>
        <a:p>
          <a:r>
            <a:rPr lang="fr-FR" b="1" dirty="0"/>
            <a:t>TVA encaissée par un assujetti lors d’une vente</a:t>
          </a:r>
        </a:p>
      </dgm:t>
    </dgm:pt>
    <dgm:pt modelId="{5DA438FA-757F-465C-88B6-04B713623744}" type="parTrans" cxnId="{EA4D519C-B7ED-42C1-B12A-CB4A19B335D3}">
      <dgm:prSet/>
      <dgm:spPr/>
      <dgm:t>
        <a:bodyPr/>
        <a:lstStyle/>
        <a:p>
          <a:endParaRPr lang="fr-FR" b="1"/>
        </a:p>
      </dgm:t>
    </dgm:pt>
    <dgm:pt modelId="{627F6792-97EF-460E-B08F-E261FFAC1A2D}" type="sibTrans" cxnId="{EA4D519C-B7ED-42C1-B12A-CB4A19B335D3}">
      <dgm:prSet/>
      <dgm:spPr/>
      <dgm:t>
        <a:bodyPr/>
        <a:lstStyle/>
        <a:p>
          <a:endParaRPr lang="fr-FR" b="1"/>
        </a:p>
      </dgm:t>
    </dgm:pt>
    <dgm:pt modelId="{F75A6938-AAC3-4954-9FD6-0AE88F0BDE42}">
      <dgm:prSet phldrT="[Texte]"/>
      <dgm:spPr/>
      <dgm:t>
        <a:bodyPr/>
        <a:lstStyle/>
        <a:p>
          <a:r>
            <a:rPr lang="fr-FR" b="1" dirty="0"/>
            <a:t>TVA payée par un assujetti lors d’un achat</a:t>
          </a:r>
        </a:p>
      </dgm:t>
    </dgm:pt>
    <dgm:pt modelId="{4059376E-B841-4032-B3D0-F99B283DD24D}" type="parTrans" cxnId="{9EEDDB12-73DB-4571-B9F1-BE1B55EC3C7D}">
      <dgm:prSet/>
      <dgm:spPr/>
      <dgm:t>
        <a:bodyPr/>
        <a:lstStyle/>
        <a:p>
          <a:endParaRPr lang="fr-FR" b="1"/>
        </a:p>
      </dgm:t>
    </dgm:pt>
    <dgm:pt modelId="{218717B6-40EA-4E8A-91C1-64663C185F17}" type="sibTrans" cxnId="{9EEDDB12-73DB-4571-B9F1-BE1B55EC3C7D}">
      <dgm:prSet/>
      <dgm:spPr/>
      <dgm:t>
        <a:bodyPr/>
        <a:lstStyle/>
        <a:p>
          <a:endParaRPr lang="fr-FR" b="1"/>
        </a:p>
      </dgm:t>
    </dgm:pt>
    <dgm:pt modelId="{05EEE3F4-129E-4BB7-BDE4-1C1125A43002}">
      <dgm:prSet phldrT="[Texte]"/>
      <dgm:spPr/>
      <dgm:t>
        <a:bodyPr/>
        <a:lstStyle/>
        <a:p>
          <a:r>
            <a:rPr lang="fr-FR" b="1" dirty="0"/>
            <a:t>TVA à décaisser</a:t>
          </a:r>
        </a:p>
      </dgm:t>
    </dgm:pt>
    <dgm:pt modelId="{9558722C-9D52-413C-88AD-7886940F525E}" type="parTrans" cxnId="{7B33412D-6030-45B9-9CC2-95978B03E620}">
      <dgm:prSet/>
      <dgm:spPr/>
      <dgm:t>
        <a:bodyPr/>
        <a:lstStyle/>
        <a:p>
          <a:endParaRPr lang="fr-FR" b="1"/>
        </a:p>
      </dgm:t>
    </dgm:pt>
    <dgm:pt modelId="{3B454020-B1E0-47EE-8303-486447264007}" type="sibTrans" cxnId="{7B33412D-6030-45B9-9CC2-95978B03E620}">
      <dgm:prSet/>
      <dgm:spPr/>
      <dgm:t>
        <a:bodyPr/>
        <a:lstStyle/>
        <a:p>
          <a:endParaRPr lang="fr-FR" b="1"/>
        </a:p>
      </dgm:t>
    </dgm:pt>
    <dgm:pt modelId="{C9880357-E606-4FDF-8CB2-DE3492DE996A}">
      <dgm:prSet phldrT="[Texte]"/>
      <dgm:spPr/>
      <dgm:t>
        <a:bodyPr/>
        <a:lstStyle/>
        <a:p>
          <a:r>
            <a:rPr lang="fr-FR" b="1" dirty="0"/>
            <a:t>TVA collectée – TVA déductible</a:t>
          </a:r>
        </a:p>
      </dgm:t>
    </dgm:pt>
    <dgm:pt modelId="{17D24D8C-A893-4F30-A995-F6DE97A4C325}" type="parTrans" cxnId="{EE8D392B-58C6-4F32-94CD-A96A366FEC0E}">
      <dgm:prSet/>
      <dgm:spPr/>
      <dgm:t>
        <a:bodyPr/>
        <a:lstStyle/>
        <a:p>
          <a:endParaRPr lang="fr-FR" b="1"/>
        </a:p>
      </dgm:t>
    </dgm:pt>
    <dgm:pt modelId="{72F1CFF6-2BDD-4C6F-A60F-649AA3A2E485}" type="sibTrans" cxnId="{EE8D392B-58C6-4F32-94CD-A96A366FEC0E}">
      <dgm:prSet/>
      <dgm:spPr/>
      <dgm:t>
        <a:bodyPr/>
        <a:lstStyle/>
        <a:p>
          <a:endParaRPr lang="fr-FR" b="1"/>
        </a:p>
      </dgm:t>
    </dgm:pt>
    <dgm:pt modelId="{4308492F-EA5B-4A51-A162-01D6810AC3AD}" type="pres">
      <dgm:prSet presAssocID="{A8DCA710-9AD8-487D-A78F-EB2FE6692888}" presName="Name0" presStyleCnt="0">
        <dgm:presLayoutVars>
          <dgm:dir/>
          <dgm:animLvl val="lvl"/>
          <dgm:resizeHandles val="exact"/>
        </dgm:presLayoutVars>
      </dgm:prSet>
      <dgm:spPr/>
    </dgm:pt>
    <dgm:pt modelId="{A8A83914-75C7-4A35-96F8-AE6F286DDB99}" type="pres">
      <dgm:prSet presAssocID="{C4931C45-9230-42C7-8F63-311C742D02D6}" presName="linNode" presStyleCnt="0"/>
      <dgm:spPr/>
    </dgm:pt>
    <dgm:pt modelId="{250DF100-6CBA-4F3E-A1A0-CAB046AC3603}" type="pres">
      <dgm:prSet presAssocID="{C4931C45-9230-42C7-8F63-311C742D02D6}" presName="parentText" presStyleLbl="node1" presStyleIdx="0" presStyleCnt="5">
        <dgm:presLayoutVars>
          <dgm:chMax val="1"/>
          <dgm:bulletEnabled val="1"/>
        </dgm:presLayoutVars>
      </dgm:prSet>
      <dgm:spPr/>
    </dgm:pt>
    <dgm:pt modelId="{A6CEEC18-277E-4D60-99A9-2F4AF108EB83}" type="pres">
      <dgm:prSet presAssocID="{C4931C45-9230-42C7-8F63-311C742D02D6}" presName="descendantText" presStyleLbl="alignAccFollowNode1" presStyleIdx="0" presStyleCnt="5">
        <dgm:presLayoutVars>
          <dgm:bulletEnabled val="1"/>
        </dgm:presLayoutVars>
      </dgm:prSet>
      <dgm:spPr/>
    </dgm:pt>
    <dgm:pt modelId="{B4133516-0D2E-4D12-B7F1-AC5E580E3497}" type="pres">
      <dgm:prSet presAssocID="{E9F87131-0D83-417B-A1C9-DBCB9CE35CC7}" presName="sp" presStyleCnt="0"/>
      <dgm:spPr/>
    </dgm:pt>
    <dgm:pt modelId="{350233E5-FB62-4C96-A9F9-D8F5E0DBD0AF}" type="pres">
      <dgm:prSet presAssocID="{D44573C7-0823-4A55-A932-2418606E6514}" presName="linNode" presStyleCnt="0"/>
      <dgm:spPr/>
    </dgm:pt>
    <dgm:pt modelId="{564E2EEF-B547-4254-BA6A-728D07B2A2CA}" type="pres">
      <dgm:prSet presAssocID="{D44573C7-0823-4A55-A932-2418606E6514}" presName="parentText" presStyleLbl="node1" presStyleIdx="1" presStyleCnt="5">
        <dgm:presLayoutVars>
          <dgm:chMax val="1"/>
          <dgm:bulletEnabled val="1"/>
        </dgm:presLayoutVars>
      </dgm:prSet>
      <dgm:spPr/>
    </dgm:pt>
    <dgm:pt modelId="{442813C6-26AD-426C-B935-825D70FC658A}" type="pres">
      <dgm:prSet presAssocID="{D44573C7-0823-4A55-A932-2418606E6514}" presName="descendantText" presStyleLbl="alignAccFollowNode1" presStyleIdx="1" presStyleCnt="5">
        <dgm:presLayoutVars>
          <dgm:bulletEnabled val="1"/>
        </dgm:presLayoutVars>
      </dgm:prSet>
      <dgm:spPr/>
    </dgm:pt>
    <dgm:pt modelId="{534E34B7-96BF-457F-BF66-B8F023AE9E89}" type="pres">
      <dgm:prSet presAssocID="{130D5AB2-F246-44D0-91DC-D15F3D107220}" presName="sp" presStyleCnt="0"/>
      <dgm:spPr/>
    </dgm:pt>
    <dgm:pt modelId="{2E9547BD-176E-48A5-826E-AC2A48E4A431}" type="pres">
      <dgm:prSet presAssocID="{2AD8305E-093E-4D56-A7B4-C87D92BDB72B}" presName="linNode" presStyleCnt="0"/>
      <dgm:spPr/>
    </dgm:pt>
    <dgm:pt modelId="{90933AB5-231A-4325-87E3-D057F3D598A6}" type="pres">
      <dgm:prSet presAssocID="{2AD8305E-093E-4D56-A7B4-C87D92BDB72B}" presName="parentText" presStyleLbl="node1" presStyleIdx="2" presStyleCnt="5">
        <dgm:presLayoutVars>
          <dgm:chMax val="1"/>
          <dgm:bulletEnabled val="1"/>
        </dgm:presLayoutVars>
      </dgm:prSet>
      <dgm:spPr/>
    </dgm:pt>
    <dgm:pt modelId="{87789FC3-6358-435F-8FB1-9C3D59222CAD}" type="pres">
      <dgm:prSet presAssocID="{2AD8305E-093E-4D56-A7B4-C87D92BDB72B}" presName="descendantText" presStyleLbl="alignAccFollowNode1" presStyleIdx="2" presStyleCnt="5">
        <dgm:presLayoutVars>
          <dgm:bulletEnabled val="1"/>
        </dgm:presLayoutVars>
      </dgm:prSet>
      <dgm:spPr/>
    </dgm:pt>
    <dgm:pt modelId="{FD636E4D-91F4-4560-994F-F2129BBFAC42}" type="pres">
      <dgm:prSet presAssocID="{29360A43-8978-48E4-BFD4-9741BD5D806B}" presName="sp" presStyleCnt="0"/>
      <dgm:spPr/>
    </dgm:pt>
    <dgm:pt modelId="{6A604573-17BE-4A93-8215-ABB2B70DFCD0}" type="pres">
      <dgm:prSet presAssocID="{C6FA4DC6-95C2-4AA3-84BA-C5A5A4A820EE}" presName="linNode" presStyleCnt="0"/>
      <dgm:spPr/>
    </dgm:pt>
    <dgm:pt modelId="{EC94EA1D-1196-487C-8BCD-2C8F732400A6}" type="pres">
      <dgm:prSet presAssocID="{C6FA4DC6-95C2-4AA3-84BA-C5A5A4A820EE}" presName="parentText" presStyleLbl="node1" presStyleIdx="3" presStyleCnt="5">
        <dgm:presLayoutVars>
          <dgm:chMax val="1"/>
          <dgm:bulletEnabled val="1"/>
        </dgm:presLayoutVars>
      </dgm:prSet>
      <dgm:spPr/>
    </dgm:pt>
    <dgm:pt modelId="{632D6F6A-1B3F-4A77-96EA-DCF243119693}" type="pres">
      <dgm:prSet presAssocID="{C6FA4DC6-95C2-4AA3-84BA-C5A5A4A820EE}" presName="descendantText" presStyleLbl="alignAccFollowNode1" presStyleIdx="3" presStyleCnt="5">
        <dgm:presLayoutVars>
          <dgm:bulletEnabled val="1"/>
        </dgm:presLayoutVars>
      </dgm:prSet>
      <dgm:spPr/>
    </dgm:pt>
    <dgm:pt modelId="{0E6CA696-A1A9-4800-BF8A-5E98E3DB96B3}" type="pres">
      <dgm:prSet presAssocID="{E0916A44-490C-4E80-B360-08416112DACA}" presName="sp" presStyleCnt="0"/>
      <dgm:spPr/>
    </dgm:pt>
    <dgm:pt modelId="{AA9F56BE-331C-4342-833A-07EAB3D39AF2}" type="pres">
      <dgm:prSet presAssocID="{05EEE3F4-129E-4BB7-BDE4-1C1125A43002}" presName="linNode" presStyleCnt="0"/>
      <dgm:spPr/>
    </dgm:pt>
    <dgm:pt modelId="{33BA15D6-3839-4086-825D-9C1E6CA67B35}" type="pres">
      <dgm:prSet presAssocID="{05EEE3F4-129E-4BB7-BDE4-1C1125A43002}" presName="parentText" presStyleLbl="node1" presStyleIdx="4" presStyleCnt="5">
        <dgm:presLayoutVars>
          <dgm:chMax val="1"/>
          <dgm:bulletEnabled val="1"/>
        </dgm:presLayoutVars>
      </dgm:prSet>
      <dgm:spPr/>
    </dgm:pt>
    <dgm:pt modelId="{87965EE2-DBC4-4893-8519-F0D0B02A6929}" type="pres">
      <dgm:prSet presAssocID="{05EEE3F4-129E-4BB7-BDE4-1C1125A43002}" presName="descendantText" presStyleLbl="alignAccFollowNode1" presStyleIdx="4" presStyleCnt="5">
        <dgm:presLayoutVars>
          <dgm:bulletEnabled val="1"/>
        </dgm:presLayoutVars>
      </dgm:prSet>
      <dgm:spPr/>
    </dgm:pt>
  </dgm:ptLst>
  <dgm:cxnLst>
    <dgm:cxn modelId="{6BA4F80D-5879-46E5-B895-4AE771C8ACC5}" srcId="{D44573C7-0823-4A55-A932-2418606E6514}" destId="{B7C26F3F-8BDF-4376-BB16-C057F4072F03}" srcOrd="0" destOrd="0" parTransId="{748DF5FC-8EB1-444D-9458-5846F7203221}" sibTransId="{BDFC6A5A-A684-49F1-A6FC-BC124926B62F}"/>
    <dgm:cxn modelId="{9EEDDB12-73DB-4571-B9F1-BE1B55EC3C7D}" srcId="{C6FA4DC6-95C2-4AA3-84BA-C5A5A4A820EE}" destId="{F75A6938-AAC3-4954-9FD6-0AE88F0BDE42}" srcOrd="0" destOrd="0" parTransId="{4059376E-B841-4032-B3D0-F99B283DD24D}" sibTransId="{218717B6-40EA-4E8A-91C1-64663C185F17}"/>
    <dgm:cxn modelId="{8423B81D-3006-454B-ADDF-9A6338A02B23}" srcId="{A8DCA710-9AD8-487D-A78F-EB2FE6692888}" destId="{C4931C45-9230-42C7-8F63-311C742D02D6}" srcOrd="0" destOrd="0" parTransId="{BC2BA275-12D2-45B1-A6A3-8AC207CADC2F}" sibTransId="{E9F87131-0D83-417B-A1C9-DBCB9CE35CC7}"/>
    <dgm:cxn modelId="{2EAF912A-A7FF-4C85-854A-5647A1A3B9F3}" type="presOf" srcId="{C6FA4DC6-95C2-4AA3-84BA-C5A5A4A820EE}" destId="{EC94EA1D-1196-487C-8BCD-2C8F732400A6}" srcOrd="0" destOrd="0" presId="urn:microsoft.com/office/officeart/2005/8/layout/vList5"/>
    <dgm:cxn modelId="{EE8D392B-58C6-4F32-94CD-A96A366FEC0E}" srcId="{05EEE3F4-129E-4BB7-BDE4-1C1125A43002}" destId="{C9880357-E606-4FDF-8CB2-DE3492DE996A}" srcOrd="0" destOrd="0" parTransId="{17D24D8C-A893-4F30-A995-F6DE97A4C325}" sibTransId="{72F1CFF6-2BDD-4C6F-A60F-649AA3A2E485}"/>
    <dgm:cxn modelId="{C8DECA2B-734A-4845-AE2C-19ADEAA3801A}" srcId="{A8DCA710-9AD8-487D-A78F-EB2FE6692888}" destId="{C6FA4DC6-95C2-4AA3-84BA-C5A5A4A820EE}" srcOrd="3" destOrd="0" parTransId="{F05A63F1-C15B-4640-B0AC-F3FC2C791A41}" sibTransId="{E0916A44-490C-4E80-B360-08416112DACA}"/>
    <dgm:cxn modelId="{7B33412D-6030-45B9-9CC2-95978B03E620}" srcId="{A8DCA710-9AD8-487D-A78F-EB2FE6692888}" destId="{05EEE3F4-129E-4BB7-BDE4-1C1125A43002}" srcOrd="4" destOrd="0" parTransId="{9558722C-9D52-413C-88AD-7886940F525E}" sibTransId="{3B454020-B1E0-47EE-8303-486447264007}"/>
    <dgm:cxn modelId="{CEC09937-2084-445F-8436-C08B16D7FA08}" type="presOf" srcId="{05EEE3F4-129E-4BB7-BDE4-1C1125A43002}" destId="{33BA15D6-3839-4086-825D-9C1E6CA67B35}" srcOrd="0" destOrd="0" presId="urn:microsoft.com/office/officeart/2005/8/layout/vList5"/>
    <dgm:cxn modelId="{B915965E-C251-4770-AFAE-B649E3678389}" type="presOf" srcId="{C4931C45-9230-42C7-8F63-311C742D02D6}" destId="{250DF100-6CBA-4F3E-A1A0-CAB046AC3603}" srcOrd="0" destOrd="0" presId="urn:microsoft.com/office/officeart/2005/8/layout/vList5"/>
    <dgm:cxn modelId="{E78D4962-EC8B-4E5C-A9F1-5DFB86EA3026}" srcId="{A8DCA710-9AD8-487D-A78F-EB2FE6692888}" destId="{2AD8305E-093E-4D56-A7B4-C87D92BDB72B}" srcOrd="2" destOrd="0" parTransId="{48AC2631-B1BE-42F5-81E4-5415CFEA9F7A}" sibTransId="{29360A43-8978-48E4-BFD4-9741BD5D806B}"/>
    <dgm:cxn modelId="{41112F4C-5408-4424-A584-9585EB9A3E26}" srcId="{A8DCA710-9AD8-487D-A78F-EB2FE6692888}" destId="{D44573C7-0823-4A55-A932-2418606E6514}" srcOrd="1" destOrd="0" parTransId="{20755DAB-206A-4002-9725-5984AC7B0EC2}" sibTransId="{130D5AB2-F246-44D0-91DC-D15F3D107220}"/>
    <dgm:cxn modelId="{90702A52-5DFA-4BE8-B83D-8F756A7F0434}" type="presOf" srcId="{F75A6938-AAC3-4954-9FD6-0AE88F0BDE42}" destId="{632D6F6A-1B3F-4A77-96EA-DCF243119693}" srcOrd="0" destOrd="0" presId="urn:microsoft.com/office/officeart/2005/8/layout/vList5"/>
    <dgm:cxn modelId="{EA4D519C-B7ED-42C1-B12A-CB4A19B335D3}" srcId="{2AD8305E-093E-4D56-A7B4-C87D92BDB72B}" destId="{CDC62464-00ED-4C73-94BA-B56ADD96446C}" srcOrd="0" destOrd="0" parTransId="{5DA438FA-757F-465C-88B6-04B713623744}" sibTransId="{627F6792-97EF-460E-B08F-E261FFAC1A2D}"/>
    <dgm:cxn modelId="{7DC4C59C-E0E4-41D0-8726-9F171CCB7358}" type="presOf" srcId="{D44573C7-0823-4A55-A932-2418606E6514}" destId="{564E2EEF-B547-4254-BA6A-728D07B2A2CA}" srcOrd="0" destOrd="0" presId="urn:microsoft.com/office/officeart/2005/8/layout/vList5"/>
    <dgm:cxn modelId="{27518A9E-699D-40A6-B2FA-810BE8AF0897}" type="presOf" srcId="{2AD8305E-093E-4D56-A7B4-C87D92BDB72B}" destId="{90933AB5-231A-4325-87E3-D057F3D598A6}" srcOrd="0" destOrd="0" presId="urn:microsoft.com/office/officeart/2005/8/layout/vList5"/>
    <dgm:cxn modelId="{979401B3-A28E-45D7-A36D-BB0A5B0A0247}" type="presOf" srcId="{A8DCA710-9AD8-487D-A78F-EB2FE6692888}" destId="{4308492F-EA5B-4A51-A162-01D6810AC3AD}" srcOrd="0" destOrd="0" presId="urn:microsoft.com/office/officeart/2005/8/layout/vList5"/>
    <dgm:cxn modelId="{A5F2EBB3-FDCA-4009-A65C-CB556AE16DB1}" type="presOf" srcId="{C9880357-E606-4FDF-8CB2-DE3492DE996A}" destId="{87965EE2-DBC4-4893-8519-F0D0B02A6929}" srcOrd="0" destOrd="0" presId="urn:microsoft.com/office/officeart/2005/8/layout/vList5"/>
    <dgm:cxn modelId="{9132F9C1-3CD1-43C9-BEC3-D97E7062F774}" srcId="{C4931C45-9230-42C7-8F63-311C742D02D6}" destId="{8FFC4A4B-D7F5-4E55-83B5-54CCE2FD1458}" srcOrd="0" destOrd="0" parTransId="{9C832D7D-1195-4ED7-B26A-100767324D0E}" sibTransId="{9EE3EA5B-B9F0-42FA-BB45-36C12A1071F7}"/>
    <dgm:cxn modelId="{4E1B95D1-EF95-4DB2-95A1-4F8EA593A8A9}" type="presOf" srcId="{B7C26F3F-8BDF-4376-BB16-C057F4072F03}" destId="{442813C6-26AD-426C-B935-825D70FC658A}" srcOrd="0" destOrd="0" presId="urn:microsoft.com/office/officeart/2005/8/layout/vList5"/>
    <dgm:cxn modelId="{B95A6FE1-574E-48DA-86C3-63D37081C077}" type="presOf" srcId="{CDC62464-00ED-4C73-94BA-B56ADD96446C}" destId="{87789FC3-6358-435F-8FB1-9C3D59222CAD}" srcOrd="0" destOrd="0" presId="urn:microsoft.com/office/officeart/2005/8/layout/vList5"/>
    <dgm:cxn modelId="{1EB4B0FE-FD7E-4FA2-92A9-B1DA33C66AE5}" type="presOf" srcId="{8FFC4A4B-D7F5-4E55-83B5-54CCE2FD1458}" destId="{A6CEEC18-277E-4D60-99A9-2F4AF108EB83}" srcOrd="0" destOrd="0" presId="urn:microsoft.com/office/officeart/2005/8/layout/vList5"/>
    <dgm:cxn modelId="{280B4AE1-CB07-4B73-8E8C-81093FF5AD10}" type="presParOf" srcId="{4308492F-EA5B-4A51-A162-01D6810AC3AD}" destId="{A8A83914-75C7-4A35-96F8-AE6F286DDB99}" srcOrd="0" destOrd="0" presId="urn:microsoft.com/office/officeart/2005/8/layout/vList5"/>
    <dgm:cxn modelId="{60C9E8FD-34A6-4F31-8859-6B6BA4705F87}" type="presParOf" srcId="{A8A83914-75C7-4A35-96F8-AE6F286DDB99}" destId="{250DF100-6CBA-4F3E-A1A0-CAB046AC3603}" srcOrd="0" destOrd="0" presId="urn:microsoft.com/office/officeart/2005/8/layout/vList5"/>
    <dgm:cxn modelId="{5C9A733E-F038-4BC9-9BC5-97E097E48799}" type="presParOf" srcId="{A8A83914-75C7-4A35-96F8-AE6F286DDB99}" destId="{A6CEEC18-277E-4D60-99A9-2F4AF108EB83}" srcOrd="1" destOrd="0" presId="urn:microsoft.com/office/officeart/2005/8/layout/vList5"/>
    <dgm:cxn modelId="{720CA832-DF07-4BA6-8185-17242AF695B3}" type="presParOf" srcId="{4308492F-EA5B-4A51-A162-01D6810AC3AD}" destId="{B4133516-0D2E-4D12-B7F1-AC5E580E3497}" srcOrd="1" destOrd="0" presId="urn:microsoft.com/office/officeart/2005/8/layout/vList5"/>
    <dgm:cxn modelId="{A8713195-ED39-44BB-86BC-5D417B96BB62}" type="presParOf" srcId="{4308492F-EA5B-4A51-A162-01D6810AC3AD}" destId="{350233E5-FB62-4C96-A9F9-D8F5E0DBD0AF}" srcOrd="2" destOrd="0" presId="urn:microsoft.com/office/officeart/2005/8/layout/vList5"/>
    <dgm:cxn modelId="{BE1FC9E2-2D3A-498C-80FA-2D4AEBE10854}" type="presParOf" srcId="{350233E5-FB62-4C96-A9F9-D8F5E0DBD0AF}" destId="{564E2EEF-B547-4254-BA6A-728D07B2A2CA}" srcOrd="0" destOrd="0" presId="urn:microsoft.com/office/officeart/2005/8/layout/vList5"/>
    <dgm:cxn modelId="{106378E4-E036-46EA-9043-E111297E7C90}" type="presParOf" srcId="{350233E5-FB62-4C96-A9F9-D8F5E0DBD0AF}" destId="{442813C6-26AD-426C-B935-825D70FC658A}" srcOrd="1" destOrd="0" presId="urn:microsoft.com/office/officeart/2005/8/layout/vList5"/>
    <dgm:cxn modelId="{34432AD6-354B-432D-B6F9-31B5B33659C6}" type="presParOf" srcId="{4308492F-EA5B-4A51-A162-01D6810AC3AD}" destId="{534E34B7-96BF-457F-BF66-B8F023AE9E89}" srcOrd="3" destOrd="0" presId="urn:microsoft.com/office/officeart/2005/8/layout/vList5"/>
    <dgm:cxn modelId="{5404E6EE-8108-4B75-B933-8B61EC489EC2}" type="presParOf" srcId="{4308492F-EA5B-4A51-A162-01D6810AC3AD}" destId="{2E9547BD-176E-48A5-826E-AC2A48E4A431}" srcOrd="4" destOrd="0" presId="urn:microsoft.com/office/officeart/2005/8/layout/vList5"/>
    <dgm:cxn modelId="{C3016645-610D-4810-914D-F23D87027014}" type="presParOf" srcId="{2E9547BD-176E-48A5-826E-AC2A48E4A431}" destId="{90933AB5-231A-4325-87E3-D057F3D598A6}" srcOrd="0" destOrd="0" presId="urn:microsoft.com/office/officeart/2005/8/layout/vList5"/>
    <dgm:cxn modelId="{4E342099-8F60-423F-9F5F-E37254B724A3}" type="presParOf" srcId="{2E9547BD-176E-48A5-826E-AC2A48E4A431}" destId="{87789FC3-6358-435F-8FB1-9C3D59222CAD}" srcOrd="1" destOrd="0" presId="urn:microsoft.com/office/officeart/2005/8/layout/vList5"/>
    <dgm:cxn modelId="{4DA4CEE9-7AE2-4B90-A72D-E98CC1F3AC82}" type="presParOf" srcId="{4308492F-EA5B-4A51-A162-01D6810AC3AD}" destId="{FD636E4D-91F4-4560-994F-F2129BBFAC42}" srcOrd="5" destOrd="0" presId="urn:microsoft.com/office/officeart/2005/8/layout/vList5"/>
    <dgm:cxn modelId="{0652910E-FFD2-4A42-BE81-89A3C6BF1109}" type="presParOf" srcId="{4308492F-EA5B-4A51-A162-01D6810AC3AD}" destId="{6A604573-17BE-4A93-8215-ABB2B70DFCD0}" srcOrd="6" destOrd="0" presId="urn:microsoft.com/office/officeart/2005/8/layout/vList5"/>
    <dgm:cxn modelId="{C1F254E2-11EB-4D24-8B52-40A5387E38C4}" type="presParOf" srcId="{6A604573-17BE-4A93-8215-ABB2B70DFCD0}" destId="{EC94EA1D-1196-487C-8BCD-2C8F732400A6}" srcOrd="0" destOrd="0" presId="urn:microsoft.com/office/officeart/2005/8/layout/vList5"/>
    <dgm:cxn modelId="{E4E8D372-EBE7-4154-B5C3-CDFA45331D5A}" type="presParOf" srcId="{6A604573-17BE-4A93-8215-ABB2B70DFCD0}" destId="{632D6F6A-1B3F-4A77-96EA-DCF243119693}" srcOrd="1" destOrd="0" presId="urn:microsoft.com/office/officeart/2005/8/layout/vList5"/>
    <dgm:cxn modelId="{DF8867AC-0E73-44B6-A8DD-B55C309783FE}" type="presParOf" srcId="{4308492F-EA5B-4A51-A162-01D6810AC3AD}" destId="{0E6CA696-A1A9-4800-BF8A-5E98E3DB96B3}" srcOrd="7" destOrd="0" presId="urn:microsoft.com/office/officeart/2005/8/layout/vList5"/>
    <dgm:cxn modelId="{BA2BE3EC-2D3D-409B-A26F-64E2389498ED}" type="presParOf" srcId="{4308492F-EA5B-4A51-A162-01D6810AC3AD}" destId="{AA9F56BE-331C-4342-833A-07EAB3D39AF2}" srcOrd="8" destOrd="0" presId="urn:microsoft.com/office/officeart/2005/8/layout/vList5"/>
    <dgm:cxn modelId="{0DD7E128-0D51-4AC6-975B-5406D17F0628}" type="presParOf" srcId="{AA9F56BE-331C-4342-833A-07EAB3D39AF2}" destId="{33BA15D6-3839-4086-825D-9C1E6CA67B35}" srcOrd="0" destOrd="0" presId="urn:microsoft.com/office/officeart/2005/8/layout/vList5"/>
    <dgm:cxn modelId="{DE3EF596-A183-41DC-8665-4EAEAE336744}" type="presParOf" srcId="{AA9F56BE-331C-4342-833A-07EAB3D39AF2}" destId="{87965EE2-DBC4-4893-8519-F0D0B02A6929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D50E4FD-50EE-403D-B11C-91FC6B233041}" type="doc">
      <dgm:prSet loTypeId="urn:microsoft.com/office/officeart/2005/8/layout/process4" loCatId="list" qsTypeId="urn:microsoft.com/office/officeart/2005/8/quickstyle/3d2" qsCatId="3D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B885AC23-CC3E-4C7A-8099-7A94F62F4E1C}">
      <dgm:prSet phldrT="[Texte]"/>
      <dgm:spPr/>
      <dgm:t>
        <a:bodyPr/>
        <a:lstStyle/>
        <a:p>
          <a:pPr algn="ctr"/>
          <a:r>
            <a:rPr lang="fr-FR" b="1" dirty="0"/>
            <a:t>HT + TVA = TTC</a:t>
          </a:r>
        </a:p>
      </dgm:t>
    </dgm:pt>
    <dgm:pt modelId="{1285B8D2-229B-4034-AB86-DD2288B42738}" type="parTrans" cxnId="{3734005A-1FA8-463D-AB73-E58326A55945}">
      <dgm:prSet/>
      <dgm:spPr/>
      <dgm:t>
        <a:bodyPr/>
        <a:lstStyle/>
        <a:p>
          <a:endParaRPr lang="fr-FR"/>
        </a:p>
      </dgm:t>
    </dgm:pt>
    <dgm:pt modelId="{69E14E88-17D6-4B34-949E-3DE6BE3013BD}" type="sibTrans" cxnId="{3734005A-1FA8-463D-AB73-E58326A55945}">
      <dgm:prSet/>
      <dgm:spPr/>
      <dgm:t>
        <a:bodyPr/>
        <a:lstStyle/>
        <a:p>
          <a:endParaRPr lang="fr-FR"/>
        </a:p>
      </dgm:t>
    </dgm:pt>
    <dgm:pt modelId="{7AFCA4F8-1416-4FF5-96E0-82C0F7DA7096}">
      <dgm:prSet phldrT="[Texte]"/>
      <dgm:spPr/>
      <dgm:t>
        <a:bodyPr/>
        <a:lstStyle/>
        <a:p>
          <a:r>
            <a:rPr lang="fr-FR" b="1" dirty="0"/>
            <a:t>HT x Taux de TVA = TVA</a:t>
          </a:r>
        </a:p>
      </dgm:t>
    </dgm:pt>
    <dgm:pt modelId="{5D2164D1-AD8D-4F94-AD4C-D03BBBBE2EA6}" type="parTrans" cxnId="{935A10AF-D1E3-4947-8925-FD2142AFC0BD}">
      <dgm:prSet/>
      <dgm:spPr/>
      <dgm:t>
        <a:bodyPr/>
        <a:lstStyle/>
        <a:p>
          <a:endParaRPr lang="fr-FR"/>
        </a:p>
      </dgm:t>
    </dgm:pt>
    <dgm:pt modelId="{240982AE-A605-4050-9532-4FF66EA49030}" type="sibTrans" cxnId="{935A10AF-D1E3-4947-8925-FD2142AFC0BD}">
      <dgm:prSet/>
      <dgm:spPr/>
      <dgm:t>
        <a:bodyPr/>
        <a:lstStyle/>
        <a:p>
          <a:endParaRPr lang="fr-FR"/>
        </a:p>
      </dgm:t>
    </dgm:pt>
    <dgm:pt modelId="{ED55DAC2-AA84-429A-8230-DD524F7F53F9}">
      <dgm:prSet phldrT="[Texte]"/>
      <dgm:spPr/>
      <dgm:t>
        <a:bodyPr/>
        <a:lstStyle/>
        <a:p>
          <a:r>
            <a:rPr lang="fr-FR" b="1" dirty="0"/>
            <a:t>HT + (HT x Taux de TVA) = TTC</a:t>
          </a:r>
        </a:p>
      </dgm:t>
    </dgm:pt>
    <dgm:pt modelId="{4A0700AB-5D04-40F9-BFD5-880A48380CAC}" type="parTrans" cxnId="{33854ED2-6ED1-4F9A-A39F-AAACEAD7DDAB}">
      <dgm:prSet/>
      <dgm:spPr/>
      <dgm:t>
        <a:bodyPr/>
        <a:lstStyle/>
        <a:p>
          <a:endParaRPr lang="fr-FR"/>
        </a:p>
      </dgm:t>
    </dgm:pt>
    <dgm:pt modelId="{8A9E9B49-F007-4DD4-AF46-F7328F62417A}" type="sibTrans" cxnId="{33854ED2-6ED1-4F9A-A39F-AAACEAD7DDAB}">
      <dgm:prSet/>
      <dgm:spPr/>
      <dgm:t>
        <a:bodyPr/>
        <a:lstStyle/>
        <a:p>
          <a:endParaRPr lang="fr-FR"/>
        </a:p>
      </dgm:t>
    </dgm:pt>
    <dgm:pt modelId="{E6BBE531-7CEA-4E9D-81F5-0A581CAC7D10}">
      <dgm:prSet/>
      <dgm:spPr/>
      <dgm:t>
        <a:bodyPr/>
        <a:lstStyle/>
        <a:p>
          <a:r>
            <a:rPr lang="fr-FR" b="1" dirty="0"/>
            <a:t>HT x (1 + Taux de TVA) = TTC</a:t>
          </a:r>
        </a:p>
      </dgm:t>
    </dgm:pt>
    <dgm:pt modelId="{59296A1C-D971-4D66-B3E9-D32F9956E27A}" type="parTrans" cxnId="{578A0097-7076-464F-990B-362B76835C97}">
      <dgm:prSet/>
      <dgm:spPr/>
      <dgm:t>
        <a:bodyPr/>
        <a:lstStyle/>
        <a:p>
          <a:endParaRPr lang="fr-FR"/>
        </a:p>
      </dgm:t>
    </dgm:pt>
    <dgm:pt modelId="{1C005FB8-FD03-4526-94BB-907A0041C1B3}" type="sibTrans" cxnId="{578A0097-7076-464F-990B-362B76835C97}">
      <dgm:prSet/>
      <dgm:spPr/>
      <dgm:t>
        <a:bodyPr/>
        <a:lstStyle/>
        <a:p>
          <a:endParaRPr lang="fr-FR"/>
        </a:p>
      </dgm:t>
    </dgm:pt>
    <dgm:pt modelId="{A0922F44-3AAA-4859-8E53-8656EC535938}">
      <dgm:prSet/>
      <dgm:spPr/>
      <dgm:t>
        <a:bodyPr/>
        <a:lstStyle/>
        <a:p>
          <a:r>
            <a:rPr lang="fr-FR" b="1" dirty="0"/>
            <a:t>TTC / (1 + Taux de TVA) = HT</a:t>
          </a:r>
        </a:p>
      </dgm:t>
    </dgm:pt>
    <dgm:pt modelId="{12FA9A56-40D7-4FF3-B895-04B39CCE702C}" type="parTrans" cxnId="{5F7F1273-C7FA-4449-B6D3-50FCA61176B2}">
      <dgm:prSet/>
      <dgm:spPr/>
      <dgm:t>
        <a:bodyPr/>
        <a:lstStyle/>
        <a:p>
          <a:endParaRPr lang="fr-FR"/>
        </a:p>
      </dgm:t>
    </dgm:pt>
    <dgm:pt modelId="{198D607F-CA47-4F31-A489-BC4732C4B692}" type="sibTrans" cxnId="{5F7F1273-C7FA-4449-B6D3-50FCA61176B2}">
      <dgm:prSet/>
      <dgm:spPr/>
      <dgm:t>
        <a:bodyPr/>
        <a:lstStyle/>
        <a:p>
          <a:endParaRPr lang="fr-FR"/>
        </a:p>
      </dgm:t>
    </dgm:pt>
    <dgm:pt modelId="{14607A5F-A3D9-427D-A977-00020E13E776}" type="pres">
      <dgm:prSet presAssocID="{8D50E4FD-50EE-403D-B11C-91FC6B233041}" presName="Name0" presStyleCnt="0">
        <dgm:presLayoutVars>
          <dgm:dir/>
          <dgm:animLvl val="lvl"/>
          <dgm:resizeHandles val="exact"/>
        </dgm:presLayoutVars>
      </dgm:prSet>
      <dgm:spPr/>
    </dgm:pt>
    <dgm:pt modelId="{9A87840F-0FBF-4CCF-9284-7E0645C51DEA}" type="pres">
      <dgm:prSet presAssocID="{A0922F44-3AAA-4859-8E53-8656EC535938}" presName="boxAndChildren" presStyleCnt="0"/>
      <dgm:spPr/>
    </dgm:pt>
    <dgm:pt modelId="{2DD56498-76C6-4323-93A9-4640F3721F8F}" type="pres">
      <dgm:prSet presAssocID="{A0922F44-3AAA-4859-8E53-8656EC535938}" presName="parentTextBox" presStyleLbl="node1" presStyleIdx="0" presStyleCnt="5"/>
      <dgm:spPr/>
    </dgm:pt>
    <dgm:pt modelId="{3A3BBEE2-0E92-4B5B-84CA-8FCFE097E247}" type="pres">
      <dgm:prSet presAssocID="{1C005FB8-FD03-4526-94BB-907A0041C1B3}" presName="sp" presStyleCnt="0"/>
      <dgm:spPr/>
    </dgm:pt>
    <dgm:pt modelId="{0C9F2909-3A1A-4C0A-ABBC-931216D73928}" type="pres">
      <dgm:prSet presAssocID="{E6BBE531-7CEA-4E9D-81F5-0A581CAC7D10}" presName="arrowAndChildren" presStyleCnt="0"/>
      <dgm:spPr/>
    </dgm:pt>
    <dgm:pt modelId="{EF5A2A74-FDAD-42E5-9CF9-03D7B9F1E5E7}" type="pres">
      <dgm:prSet presAssocID="{E6BBE531-7CEA-4E9D-81F5-0A581CAC7D10}" presName="parentTextArrow" presStyleLbl="node1" presStyleIdx="1" presStyleCnt="5"/>
      <dgm:spPr/>
    </dgm:pt>
    <dgm:pt modelId="{E3AAB03C-6440-42F6-8F2E-7E0B1E1FF1C6}" type="pres">
      <dgm:prSet presAssocID="{8A9E9B49-F007-4DD4-AF46-F7328F62417A}" presName="sp" presStyleCnt="0"/>
      <dgm:spPr/>
    </dgm:pt>
    <dgm:pt modelId="{8F01C2DE-CF1B-42A5-9683-F1633CFC634A}" type="pres">
      <dgm:prSet presAssocID="{ED55DAC2-AA84-429A-8230-DD524F7F53F9}" presName="arrowAndChildren" presStyleCnt="0"/>
      <dgm:spPr/>
    </dgm:pt>
    <dgm:pt modelId="{CE7AE94A-2056-491A-8097-A9835F8B667B}" type="pres">
      <dgm:prSet presAssocID="{ED55DAC2-AA84-429A-8230-DD524F7F53F9}" presName="parentTextArrow" presStyleLbl="node1" presStyleIdx="2" presStyleCnt="5"/>
      <dgm:spPr/>
    </dgm:pt>
    <dgm:pt modelId="{FA5A1547-B619-4B3F-8410-5FC18C674653}" type="pres">
      <dgm:prSet presAssocID="{240982AE-A605-4050-9532-4FF66EA49030}" presName="sp" presStyleCnt="0"/>
      <dgm:spPr/>
    </dgm:pt>
    <dgm:pt modelId="{339B508A-D30E-42A1-BB80-40E80C36F4E2}" type="pres">
      <dgm:prSet presAssocID="{7AFCA4F8-1416-4FF5-96E0-82C0F7DA7096}" presName="arrowAndChildren" presStyleCnt="0"/>
      <dgm:spPr/>
    </dgm:pt>
    <dgm:pt modelId="{52FB9DCC-6E62-4B5C-843A-6DB1FD40FD19}" type="pres">
      <dgm:prSet presAssocID="{7AFCA4F8-1416-4FF5-96E0-82C0F7DA7096}" presName="parentTextArrow" presStyleLbl="node1" presStyleIdx="3" presStyleCnt="5"/>
      <dgm:spPr/>
    </dgm:pt>
    <dgm:pt modelId="{57E8CAE7-83A2-455C-AB5E-039211CE2E6F}" type="pres">
      <dgm:prSet presAssocID="{69E14E88-17D6-4B34-949E-3DE6BE3013BD}" presName="sp" presStyleCnt="0"/>
      <dgm:spPr/>
    </dgm:pt>
    <dgm:pt modelId="{ECE31349-018C-457A-907B-D98C0ABA0EB5}" type="pres">
      <dgm:prSet presAssocID="{B885AC23-CC3E-4C7A-8099-7A94F62F4E1C}" presName="arrowAndChildren" presStyleCnt="0"/>
      <dgm:spPr/>
    </dgm:pt>
    <dgm:pt modelId="{B95D6CE2-45F4-469B-AB3D-57D59BF9F2C6}" type="pres">
      <dgm:prSet presAssocID="{B885AC23-CC3E-4C7A-8099-7A94F62F4E1C}" presName="parentTextArrow" presStyleLbl="node1" presStyleIdx="4" presStyleCnt="5"/>
      <dgm:spPr/>
    </dgm:pt>
  </dgm:ptLst>
  <dgm:cxnLst>
    <dgm:cxn modelId="{1639BE11-D691-4CC7-AC32-293FC463C5C4}" type="presOf" srcId="{8D50E4FD-50EE-403D-B11C-91FC6B233041}" destId="{14607A5F-A3D9-427D-A977-00020E13E776}" srcOrd="0" destOrd="0" presId="urn:microsoft.com/office/officeart/2005/8/layout/process4"/>
    <dgm:cxn modelId="{5F7F1273-C7FA-4449-B6D3-50FCA61176B2}" srcId="{8D50E4FD-50EE-403D-B11C-91FC6B233041}" destId="{A0922F44-3AAA-4859-8E53-8656EC535938}" srcOrd="4" destOrd="0" parTransId="{12FA9A56-40D7-4FF3-B895-04B39CCE702C}" sibTransId="{198D607F-CA47-4F31-A489-BC4732C4B692}"/>
    <dgm:cxn modelId="{BBECCC55-AE91-4222-B87E-379DC4DC71F1}" type="presOf" srcId="{B885AC23-CC3E-4C7A-8099-7A94F62F4E1C}" destId="{B95D6CE2-45F4-469B-AB3D-57D59BF9F2C6}" srcOrd="0" destOrd="0" presId="urn:microsoft.com/office/officeart/2005/8/layout/process4"/>
    <dgm:cxn modelId="{3734005A-1FA8-463D-AB73-E58326A55945}" srcId="{8D50E4FD-50EE-403D-B11C-91FC6B233041}" destId="{B885AC23-CC3E-4C7A-8099-7A94F62F4E1C}" srcOrd="0" destOrd="0" parTransId="{1285B8D2-229B-4034-AB86-DD2288B42738}" sibTransId="{69E14E88-17D6-4B34-949E-3DE6BE3013BD}"/>
    <dgm:cxn modelId="{578A0097-7076-464F-990B-362B76835C97}" srcId="{8D50E4FD-50EE-403D-B11C-91FC6B233041}" destId="{E6BBE531-7CEA-4E9D-81F5-0A581CAC7D10}" srcOrd="3" destOrd="0" parTransId="{59296A1C-D971-4D66-B3E9-D32F9956E27A}" sibTransId="{1C005FB8-FD03-4526-94BB-907A0041C1B3}"/>
    <dgm:cxn modelId="{935A10AF-D1E3-4947-8925-FD2142AFC0BD}" srcId="{8D50E4FD-50EE-403D-B11C-91FC6B233041}" destId="{7AFCA4F8-1416-4FF5-96E0-82C0F7DA7096}" srcOrd="1" destOrd="0" parTransId="{5D2164D1-AD8D-4F94-AD4C-D03BBBBE2EA6}" sibTransId="{240982AE-A605-4050-9532-4FF66EA49030}"/>
    <dgm:cxn modelId="{BF0D16BC-6DA8-4C87-B3F0-ACC1D38AFCF7}" type="presOf" srcId="{E6BBE531-7CEA-4E9D-81F5-0A581CAC7D10}" destId="{EF5A2A74-FDAD-42E5-9CF9-03D7B9F1E5E7}" srcOrd="0" destOrd="0" presId="urn:microsoft.com/office/officeart/2005/8/layout/process4"/>
    <dgm:cxn modelId="{33854ED2-6ED1-4F9A-A39F-AAACEAD7DDAB}" srcId="{8D50E4FD-50EE-403D-B11C-91FC6B233041}" destId="{ED55DAC2-AA84-429A-8230-DD524F7F53F9}" srcOrd="2" destOrd="0" parTransId="{4A0700AB-5D04-40F9-BFD5-880A48380CAC}" sibTransId="{8A9E9B49-F007-4DD4-AF46-F7328F62417A}"/>
    <dgm:cxn modelId="{0A2193D5-3E65-4433-8A3A-B9576CF661E4}" type="presOf" srcId="{A0922F44-3AAA-4859-8E53-8656EC535938}" destId="{2DD56498-76C6-4323-93A9-4640F3721F8F}" srcOrd="0" destOrd="0" presId="urn:microsoft.com/office/officeart/2005/8/layout/process4"/>
    <dgm:cxn modelId="{153FE8D9-DD68-43F5-98EF-A351069D900E}" type="presOf" srcId="{7AFCA4F8-1416-4FF5-96E0-82C0F7DA7096}" destId="{52FB9DCC-6E62-4B5C-843A-6DB1FD40FD19}" srcOrd="0" destOrd="0" presId="urn:microsoft.com/office/officeart/2005/8/layout/process4"/>
    <dgm:cxn modelId="{1E7AFCED-154F-4BCB-A2AA-D6BF64D900A7}" type="presOf" srcId="{ED55DAC2-AA84-429A-8230-DD524F7F53F9}" destId="{CE7AE94A-2056-491A-8097-A9835F8B667B}" srcOrd="0" destOrd="0" presId="urn:microsoft.com/office/officeart/2005/8/layout/process4"/>
    <dgm:cxn modelId="{F3A1F1BA-D2DC-41CF-999E-6A35546BB451}" type="presParOf" srcId="{14607A5F-A3D9-427D-A977-00020E13E776}" destId="{9A87840F-0FBF-4CCF-9284-7E0645C51DEA}" srcOrd="0" destOrd="0" presId="urn:microsoft.com/office/officeart/2005/8/layout/process4"/>
    <dgm:cxn modelId="{D6948E91-D877-4929-A319-644EAA6AE15C}" type="presParOf" srcId="{9A87840F-0FBF-4CCF-9284-7E0645C51DEA}" destId="{2DD56498-76C6-4323-93A9-4640F3721F8F}" srcOrd="0" destOrd="0" presId="urn:microsoft.com/office/officeart/2005/8/layout/process4"/>
    <dgm:cxn modelId="{54503B0C-93C8-4B45-A7DB-189430925468}" type="presParOf" srcId="{14607A5F-A3D9-427D-A977-00020E13E776}" destId="{3A3BBEE2-0E92-4B5B-84CA-8FCFE097E247}" srcOrd="1" destOrd="0" presId="urn:microsoft.com/office/officeart/2005/8/layout/process4"/>
    <dgm:cxn modelId="{A59308F8-D79E-4A87-9203-85374A177C25}" type="presParOf" srcId="{14607A5F-A3D9-427D-A977-00020E13E776}" destId="{0C9F2909-3A1A-4C0A-ABBC-931216D73928}" srcOrd="2" destOrd="0" presId="urn:microsoft.com/office/officeart/2005/8/layout/process4"/>
    <dgm:cxn modelId="{3B30ACD4-E729-4871-A387-07D16019C1A4}" type="presParOf" srcId="{0C9F2909-3A1A-4C0A-ABBC-931216D73928}" destId="{EF5A2A74-FDAD-42E5-9CF9-03D7B9F1E5E7}" srcOrd="0" destOrd="0" presId="urn:microsoft.com/office/officeart/2005/8/layout/process4"/>
    <dgm:cxn modelId="{BE953E9F-F095-4279-83CF-B60C9DCD8B3E}" type="presParOf" srcId="{14607A5F-A3D9-427D-A977-00020E13E776}" destId="{E3AAB03C-6440-42F6-8F2E-7E0B1E1FF1C6}" srcOrd="3" destOrd="0" presId="urn:microsoft.com/office/officeart/2005/8/layout/process4"/>
    <dgm:cxn modelId="{61C59BA9-895A-4B2F-B73F-24C87884A6F3}" type="presParOf" srcId="{14607A5F-A3D9-427D-A977-00020E13E776}" destId="{8F01C2DE-CF1B-42A5-9683-F1633CFC634A}" srcOrd="4" destOrd="0" presId="urn:microsoft.com/office/officeart/2005/8/layout/process4"/>
    <dgm:cxn modelId="{D8A6FF68-1EF2-45EB-BE8D-ADEBF1C0972C}" type="presParOf" srcId="{8F01C2DE-CF1B-42A5-9683-F1633CFC634A}" destId="{CE7AE94A-2056-491A-8097-A9835F8B667B}" srcOrd="0" destOrd="0" presId="urn:microsoft.com/office/officeart/2005/8/layout/process4"/>
    <dgm:cxn modelId="{E27F7210-D18E-47F6-9B6B-B577C45E3826}" type="presParOf" srcId="{14607A5F-A3D9-427D-A977-00020E13E776}" destId="{FA5A1547-B619-4B3F-8410-5FC18C674653}" srcOrd="5" destOrd="0" presId="urn:microsoft.com/office/officeart/2005/8/layout/process4"/>
    <dgm:cxn modelId="{2C502519-1134-4C0D-82B9-3DDD1D9C87C0}" type="presParOf" srcId="{14607A5F-A3D9-427D-A977-00020E13E776}" destId="{339B508A-D30E-42A1-BB80-40E80C36F4E2}" srcOrd="6" destOrd="0" presId="urn:microsoft.com/office/officeart/2005/8/layout/process4"/>
    <dgm:cxn modelId="{06399E3D-1447-45B5-AFAB-482D18426C97}" type="presParOf" srcId="{339B508A-D30E-42A1-BB80-40E80C36F4E2}" destId="{52FB9DCC-6E62-4B5C-843A-6DB1FD40FD19}" srcOrd="0" destOrd="0" presId="urn:microsoft.com/office/officeart/2005/8/layout/process4"/>
    <dgm:cxn modelId="{3EA3C2D0-5767-401A-8A47-836C8A8B45E6}" type="presParOf" srcId="{14607A5F-A3D9-427D-A977-00020E13E776}" destId="{57E8CAE7-83A2-455C-AB5E-039211CE2E6F}" srcOrd="7" destOrd="0" presId="urn:microsoft.com/office/officeart/2005/8/layout/process4"/>
    <dgm:cxn modelId="{DE614F8B-DEC1-4366-A4CA-B54215D53FEA}" type="presParOf" srcId="{14607A5F-A3D9-427D-A977-00020E13E776}" destId="{ECE31349-018C-457A-907B-D98C0ABA0EB5}" srcOrd="8" destOrd="0" presId="urn:microsoft.com/office/officeart/2005/8/layout/process4"/>
    <dgm:cxn modelId="{CABF97DD-43A4-43FE-B4B9-C98118B56CBA}" type="presParOf" srcId="{ECE31349-018C-457A-907B-D98C0ABA0EB5}" destId="{B95D6CE2-45F4-469B-AB3D-57D59BF9F2C6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D50E4FD-50EE-403D-B11C-91FC6B233041}" type="doc">
      <dgm:prSet loTypeId="urn:microsoft.com/office/officeart/2005/8/layout/process4" loCatId="list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B885AC23-CC3E-4C7A-8099-7A94F62F4E1C}">
      <dgm:prSet phldrT="[Texte]" custT="1"/>
      <dgm:spPr/>
      <dgm:t>
        <a:bodyPr/>
        <a:lstStyle/>
        <a:p>
          <a:pPr algn="ctr"/>
          <a:r>
            <a:rPr lang="fr-FR" sz="2400" b="1" dirty="0"/>
            <a:t>100 + 20 = 120 €</a:t>
          </a:r>
        </a:p>
      </dgm:t>
    </dgm:pt>
    <dgm:pt modelId="{1285B8D2-229B-4034-AB86-DD2288B42738}" type="parTrans" cxnId="{3734005A-1FA8-463D-AB73-E58326A55945}">
      <dgm:prSet/>
      <dgm:spPr/>
      <dgm:t>
        <a:bodyPr/>
        <a:lstStyle/>
        <a:p>
          <a:endParaRPr lang="fr-FR"/>
        </a:p>
      </dgm:t>
    </dgm:pt>
    <dgm:pt modelId="{69E14E88-17D6-4B34-949E-3DE6BE3013BD}" type="sibTrans" cxnId="{3734005A-1FA8-463D-AB73-E58326A55945}">
      <dgm:prSet/>
      <dgm:spPr/>
      <dgm:t>
        <a:bodyPr/>
        <a:lstStyle/>
        <a:p>
          <a:endParaRPr lang="fr-FR"/>
        </a:p>
      </dgm:t>
    </dgm:pt>
    <dgm:pt modelId="{7AFCA4F8-1416-4FF5-96E0-82C0F7DA7096}">
      <dgm:prSet phldrT="[Texte]" custT="1"/>
      <dgm:spPr/>
      <dgm:t>
        <a:bodyPr/>
        <a:lstStyle/>
        <a:p>
          <a:r>
            <a:rPr lang="fr-FR" sz="2400" b="1" dirty="0"/>
            <a:t>100 x 20 % = 20 €</a:t>
          </a:r>
        </a:p>
      </dgm:t>
    </dgm:pt>
    <dgm:pt modelId="{5D2164D1-AD8D-4F94-AD4C-D03BBBBE2EA6}" type="parTrans" cxnId="{935A10AF-D1E3-4947-8925-FD2142AFC0BD}">
      <dgm:prSet/>
      <dgm:spPr/>
      <dgm:t>
        <a:bodyPr/>
        <a:lstStyle/>
        <a:p>
          <a:endParaRPr lang="fr-FR"/>
        </a:p>
      </dgm:t>
    </dgm:pt>
    <dgm:pt modelId="{240982AE-A605-4050-9532-4FF66EA49030}" type="sibTrans" cxnId="{935A10AF-D1E3-4947-8925-FD2142AFC0BD}">
      <dgm:prSet/>
      <dgm:spPr/>
      <dgm:t>
        <a:bodyPr/>
        <a:lstStyle/>
        <a:p>
          <a:endParaRPr lang="fr-FR"/>
        </a:p>
      </dgm:t>
    </dgm:pt>
    <dgm:pt modelId="{ED55DAC2-AA84-429A-8230-DD524F7F53F9}">
      <dgm:prSet phldrT="[Texte]" custT="1"/>
      <dgm:spPr/>
      <dgm:t>
        <a:bodyPr/>
        <a:lstStyle/>
        <a:p>
          <a:r>
            <a:rPr lang="fr-FR" sz="2400" b="1" dirty="0"/>
            <a:t>100 + (100 x 20%) = 120 €</a:t>
          </a:r>
        </a:p>
      </dgm:t>
    </dgm:pt>
    <dgm:pt modelId="{4A0700AB-5D04-40F9-BFD5-880A48380CAC}" type="parTrans" cxnId="{33854ED2-6ED1-4F9A-A39F-AAACEAD7DDAB}">
      <dgm:prSet/>
      <dgm:spPr/>
      <dgm:t>
        <a:bodyPr/>
        <a:lstStyle/>
        <a:p>
          <a:endParaRPr lang="fr-FR"/>
        </a:p>
      </dgm:t>
    </dgm:pt>
    <dgm:pt modelId="{8A9E9B49-F007-4DD4-AF46-F7328F62417A}" type="sibTrans" cxnId="{33854ED2-6ED1-4F9A-A39F-AAACEAD7DDAB}">
      <dgm:prSet/>
      <dgm:spPr/>
      <dgm:t>
        <a:bodyPr/>
        <a:lstStyle/>
        <a:p>
          <a:endParaRPr lang="fr-FR"/>
        </a:p>
      </dgm:t>
    </dgm:pt>
    <dgm:pt modelId="{E6BBE531-7CEA-4E9D-81F5-0A581CAC7D10}">
      <dgm:prSet custT="1"/>
      <dgm:spPr/>
      <dgm:t>
        <a:bodyPr/>
        <a:lstStyle/>
        <a:p>
          <a:r>
            <a:rPr lang="fr-FR" sz="2400" b="1" dirty="0"/>
            <a:t>100 x (1 + 0,2) = 120 €</a:t>
          </a:r>
        </a:p>
      </dgm:t>
    </dgm:pt>
    <dgm:pt modelId="{59296A1C-D971-4D66-B3E9-D32F9956E27A}" type="parTrans" cxnId="{578A0097-7076-464F-990B-362B76835C97}">
      <dgm:prSet/>
      <dgm:spPr/>
      <dgm:t>
        <a:bodyPr/>
        <a:lstStyle/>
        <a:p>
          <a:endParaRPr lang="fr-FR"/>
        </a:p>
      </dgm:t>
    </dgm:pt>
    <dgm:pt modelId="{1C005FB8-FD03-4526-94BB-907A0041C1B3}" type="sibTrans" cxnId="{578A0097-7076-464F-990B-362B76835C97}">
      <dgm:prSet/>
      <dgm:spPr/>
      <dgm:t>
        <a:bodyPr/>
        <a:lstStyle/>
        <a:p>
          <a:endParaRPr lang="fr-FR"/>
        </a:p>
      </dgm:t>
    </dgm:pt>
    <dgm:pt modelId="{A0922F44-3AAA-4859-8E53-8656EC535938}">
      <dgm:prSet custT="1"/>
      <dgm:spPr/>
      <dgm:t>
        <a:bodyPr/>
        <a:lstStyle/>
        <a:p>
          <a:r>
            <a:rPr lang="fr-FR" sz="2400" b="1" dirty="0"/>
            <a:t>120 / 1,2 = 100 €</a:t>
          </a:r>
        </a:p>
      </dgm:t>
    </dgm:pt>
    <dgm:pt modelId="{12FA9A56-40D7-4FF3-B895-04B39CCE702C}" type="parTrans" cxnId="{5F7F1273-C7FA-4449-B6D3-50FCA61176B2}">
      <dgm:prSet/>
      <dgm:spPr/>
      <dgm:t>
        <a:bodyPr/>
        <a:lstStyle/>
        <a:p>
          <a:endParaRPr lang="fr-FR"/>
        </a:p>
      </dgm:t>
    </dgm:pt>
    <dgm:pt modelId="{198D607F-CA47-4F31-A489-BC4732C4B692}" type="sibTrans" cxnId="{5F7F1273-C7FA-4449-B6D3-50FCA61176B2}">
      <dgm:prSet/>
      <dgm:spPr/>
      <dgm:t>
        <a:bodyPr/>
        <a:lstStyle/>
        <a:p>
          <a:endParaRPr lang="fr-FR"/>
        </a:p>
      </dgm:t>
    </dgm:pt>
    <dgm:pt modelId="{14607A5F-A3D9-427D-A977-00020E13E776}" type="pres">
      <dgm:prSet presAssocID="{8D50E4FD-50EE-403D-B11C-91FC6B233041}" presName="Name0" presStyleCnt="0">
        <dgm:presLayoutVars>
          <dgm:dir/>
          <dgm:animLvl val="lvl"/>
          <dgm:resizeHandles val="exact"/>
        </dgm:presLayoutVars>
      </dgm:prSet>
      <dgm:spPr/>
    </dgm:pt>
    <dgm:pt modelId="{9A87840F-0FBF-4CCF-9284-7E0645C51DEA}" type="pres">
      <dgm:prSet presAssocID="{A0922F44-3AAA-4859-8E53-8656EC535938}" presName="boxAndChildren" presStyleCnt="0"/>
      <dgm:spPr/>
    </dgm:pt>
    <dgm:pt modelId="{2DD56498-76C6-4323-93A9-4640F3721F8F}" type="pres">
      <dgm:prSet presAssocID="{A0922F44-3AAA-4859-8E53-8656EC535938}" presName="parentTextBox" presStyleLbl="node1" presStyleIdx="0" presStyleCnt="5"/>
      <dgm:spPr/>
    </dgm:pt>
    <dgm:pt modelId="{3A3BBEE2-0E92-4B5B-84CA-8FCFE097E247}" type="pres">
      <dgm:prSet presAssocID="{1C005FB8-FD03-4526-94BB-907A0041C1B3}" presName="sp" presStyleCnt="0"/>
      <dgm:spPr/>
    </dgm:pt>
    <dgm:pt modelId="{0C9F2909-3A1A-4C0A-ABBC-931216D73928}" type="pres">
      <dgm:prSet presAssocID="{E6BBE531-7CEA-4E9D-81F5-0A581CAC7D10}" presName="arrowAndChildren" presStyleCnt="0"/>
      <dgm:spPr/>
    </dgm:pt>
    <dgm:pt modelId="{EF5A2A74-FDAD-42E5-9CF9-03D7B9F1E5E7}" type="pres">
      <dgm:prSet presAssocID="{E6BBE531-7CEA-4E9D-81F5-0A581CAC7D10}" presName="parentTextArrow" presStyleLbl="node1" presStyleIdx="1" presStyleCnt="5" custLinFactNeighborY="2419"/>
      <dgm:spPr/>
    </dgm:pt>
    <dgm:pt modelId="{E3AAB03C-6440-42F6-8F2E-7E0B1E1FF1C6}" type="pres">
      <dgm:prSet presAssocID="{8A9E9B49-F007-4DD4-AF46-F7328F62417A}" presName="sp" presStyleCnt="0"/>
      <dgm:spPr/>
    </dgm:pt>
    <dgm:pt modelId="{8F01C2DE-CF1B-42A5-9683-F1633CFC634A}" type="pres">
      <dgm:prSet presAssocID="{ED55DAC2-AA84-429A-8230-DD524F7F53F9}" presName="arrowAndChildren" presStyleCnt="0"/>
      <dgm:spPr/>
    </dgm:pt>
    <dgm:pt modelId="{CE7AE94A-2056-491A-8097-A9835F8B667B}" type="pres">
      <dgm:prSet presAssocID="{ED55DAC2-AA84-429A-8230-DD524F7F53F9}" presName="parentTextArrow" presStyleLbl="node1" presStyleIdx="2" presStyleCnt="5"/>
      <dgm:spPr/>
    </dgm:pt>
    <dgm:pt modelId="{FA5A1547-B619-4B3F-8410-5FC18C674653}" type="pres">
      <dgm:prSet presAssocID="{240982AE-A605-4050-9532-4FF66EA49030}" presName="sp" presStyleCnt="0"/>
      <dgm:spPr/>
    </dgm:pt>
    <dgm:pt modelId="{339B508A-D30E-42A1-BB80-40E80C36F4E2}" type="pres">
      <dgm:prSet presAssocID="{7AFCA4F8-1416-4FF5-96E0-82C0F7DA7096}" presName="arrowAndChildren" presStyleCnt="0"/>
      <dgm:spPr/>
    </dgm:pt>
    <dgm:pt modelId="{52FB9DCC-6E62-4B5C-843A-6DB1FD40FD19}" type="pres">
      <dgm:prSet presAssocID="{7AFCA4F8-1416-4FF5-96E0-82C0F7DA7096}" presName="parentTextArrow" presStyleLbl="node1" presStyleIdx="3" presStyleCnt="5" custLinFactNeighborX="-12821" custLinFactNeighborY="-340"/>
      <dgm:spPr/>
    </dgm:pt>
    <dgm:pt modelId="{57E8CAE7-83A2-455C-AB5E-039211CE2E6F}" type="pres">
      <dgm:prSet presAssocID="{69E14E88-17D6-4B34-949E-3DE6BE3013BD}" presName="sp" presStyleCnt="0"/>
      <dgm:spPr/>
    </dgm:pt>
    <dgm:pt modelId="{ECE31349-018C-457A-907B-D98C0ABA0EB5}" type="pres">
      <dgm:prSet presAssocID="{B885AC23-CC3E-4C7A-8099-7A94F62F4E1C}" presName="arrowAndChildren" presStyleCnt="0"/>
      <dgm:spPr/>
    </dgm:pt>
    <dgm:pt modelId="{B95D6CE2-45F4-469B-AB3D-57D59BF9F2C6}" type="pres">
      <dgm:prSet presAssocID="{B885AC23-CC3E-4C7A-8099-7A94F62F4E1C}" presName="parentTextArrow" presStyleLbl="node1" presStyleIdx="4" presStyleCnt="5" custLinFactNeighborY="-221"/>
      <dgm:spPr/>
    </dgm:pt>
  </dgm:ptLst>
  <dgm:cxnLst>
    <dgm:cxn modelId="{17B5764A-D885-46E7-8C1D-F7ECA8842F2B}" type="presOf" srcId="{E6BBE531-7CEA-4E9D-81F5-0A581CAC7D10}" destId="{EF5A2A74-FDAD-42E5-9CF9-03D7B9F1E5E7}" srcOrd="0" destOrd="0" presId="urn:microsoft.com/office/officeart/2005/8/layout/process4"/>
    <dgm:cxn modelId="{5F7F1273-C7FA-4449-B6D3-50FCA61176B2}" srcId="{8D50E4FD-50EE-403D-B11C-91FC6B233041}" destId="{A0922F44-3AAA-4859-8E53-8656EC535938}" srcOrd="4" destOrd="0" parTransId="{12FA9A56-40D7-4FF3-B895-04B39CCE702C}" sibTransId="{198D607F-CA47-4F31-A489-BC4732C4B692}"/>
    <dgm:cxn modelId="{3734005A-1FA8-463D-AB73-E58326A55945}" srcId="{8D50E4FD-50EE-403D-B11C-91FC6B233041}" destId="{B885AC23-CC3E-4C7A-8099-7A94F62F4E1C}" srcOrd="0" destOrd="0" parTransId="{1285B8D2-229B-4034-AB86-DD2288B42738}" sibTransId="{69E14E88-17D6-4B34-949E-3DE6BE3013BD}"/>
    <dgm:cxn modelId="{578A0097-7076-464F-990B-362B76835C97}" srcId="{8D50E4FD-50EE-403D-B11C-91FC6B233041}" destId="{E6BBE531-7CEA-4E9D-81F5-0A581CAC7D10}" srcOrd="3" destOrd="0" parTransId="{59296A1C-D971-4D66-B3E9-D32F9956E27A}" sibTransId="{1C005FB8-FD03-4526-94BB-907A0041C1B3}"/>
    <dgm:cxn modelId="{CF507DA7-E8A4-432A-A6A1-DE691E228849}" type="presOf" srcId="{8D50E4FD-50EE-403D-B11C-91FC6B233041}" destId="{14607A5F-A3D9-427D-A977-00020E13E776}" srcOrd="0" destOrd="0" presId="urn:microsoft.com/office/officeart/2005/8/layout/process4"/>
    <dgm:cxn modelId="{935A10AF-D1E3-4947-8925-FD2142AFC0BD}" srcId="{8D50E4FD-50EE-403D-B11C-91FC6B233041}" destId="{7AFCA4F8-1416-4FF5-96E0-82C0F7DA7096}" srcOrd="1" destOrd="0" parTransId="{5D2164D1-AD8D-4F94-AD4C-D03BBBBE2EA6}" sibTransId="{240982AE-A605-4050-9532-4FF66EA49030}"/>
    <dgm:cxn modelId="{439F7ACD-F929-4B91-8ADD-82808A791E54}" type="presOf" srcId="{B885AC23-CC3E-4C7A-8099-7A94F62F4E1C}" destId="{B95D6CE2-45F4-469B-AB3D-57D59BF9F2C6}" srcOrd="0" destOrd="0" presId="urn:microsoft.com/office/officeart/2005/8/layout/process4"/>
    <dgm:cxn modelId="{33854ED2-6ED1-4F9A-A39F-AAACEAD7DDAB}" srcId="{8D50E4FD-50EE-403D-B11C-91FC6B233041}" destId="{ED55DAC2-AA84-429A-8230-DD524F7F53F9}" srcOrd="2" destOrd="0" parTransId="{4A0700AB-5D04-40F9-BFD5-880A48380CAC}" sibTransId="{8A9E9B49-F007-4DD4-AF46-F7328F62417A}"/>
    <dgm:cxn modelId="{DEE409D3-9880-4D92-9949-D348839732F1}" type="presOf" srcId="{ED55DAC2-AA84-429A-8230-DD524F7F53F9}" destId="{CE7AE94A-2056-491A-8097-A9835F8B667B}" srcOrd="0" destOrd="0" presId="urn:microsoft.com/office/officeart/2005/8/layout/process4"/>
    <dgm:cxn modelId="{D7504FD5-9076-4588-8B8B-3D454949DCD0}" type="presOf" srcId="{A0922F44-3AAA-4859-8E53-8656EC535938}" destId="{2DD56498-76C6-4323-93A9-4640F3721F8F}" srcOrd="0" destOrd="0" presId="urn:microsoft.com/office/officeart/2005/8/layout/process4"/>
    <dgm:cxn modelId="{1F339FD5-897A-4DC4-A865-D27AF3B99131}" type="presOf" srcId="{7AFCA4F8-1416-4FF5-96E0-82C0F7DA7096}" destId="{52FB9DCC-6E62-4B5C-843A-6DB1FD40FD19}" srcOrd="0" destOrd="0" presId="urn:microsoft.com/office/officeart/2005/8/layout/process4"/>
    <dgm:cxn modelId="{1C111487-CC09-40B5-99EA-74CB0F807A30}" type="presParOf" srcId="{14607A5F-A3D9-427D-A977-00020E13E776}" destId="{9A87840F-0FBF-4CCF-9284-7E0645C51DEA}" srcOrd="0" destOrd="0" presId="urn:microsoft.com/office/officeart/2005/8/layout/process4"/>
    <dgm:cxn modelId="{282D7F49-2F2D-49CC-BDDD-790A3C3022C6}" type="presParOf" srcId="{9A87840F-0FBF-4CCF-9284-7E0645C51DEA}" destId="{2DD56498-76C6-4323-93A9-4640F3721F8F}" srcOrd="0" destOrd="0" presId="urn:microsoft.com/office/officeart/2005/8/layout/process4"/>
    <dgm:cxn modelId="{5408DA0E-68BE-4C87-94BC-F68019AC59CC}" type="presParOf" srcId="{14607A5F-A3D9-427D-A977-00020E13E776}" destId="{3A3BBEE2-0E92-4B5B-84CA-8FCFE097E247}" srcOrd="1" destOrd="0" presId="urn:microsoft.com/office/officeart/2005/8/layout/process4"/>
    <dgm:cxn modelId="{CDC4E40B-B43C-4183-B016-E44ACC5AB66E}" type="presParOf" srcId="{14607A5F-A3D9-427D-A977-00020E13E776}" destId="{0C9F2909-3A1A-4C0A-ABBC-931216D73928}" srcOrd="2" destOrd="0" presId="urn:microsoft.com/office/officeart/2005/8/layout/process4"/>
    <dgm:cxn modelId="{45C64173-7C93-4509-8BF8-5FC652CEC90D}" type="presParOf" srcId="{0C9F2909-3A1A-4C0A-ABBC-931216D73928}" destId="{EF5A2A74-FDAD-42E5-9CF9-03D7B9F1E5E7}" srcOrd="0" destOrd="0" presId="urn:microsoft.com/office/officeart/2005/8/layout/process4"/>
    <dgm:cxn modelId="{EADB00FA-AE2B-42E3-970F-054DB3429001}" type="presParOf" srcId="{14607A5F-A3D9-427D-A977-00020E13E776}" destId="{E3AAB03C-6440-42F6-8F2E-7E0B1E1FF1C6}" srcOrd="3" destOrd="0" presId="urn:microsoft.com/office/officeart/2005/8/layout/process4"/>
    <dgm:cxn modelId="{8475AB3D-3BDA-473E-8F5D-D6D9F2A0CA15}" type="presParOf" srcId="{14607A5F-A3D9-427D-A977-00020E13E776}" destId="{8F01C2DE-CF1B-42A5-9683-F1633CFC634A}" srcOrd="4" destOrd="0" presId="urn:microsoft.com/office/officeart/2005/8/layout/process4"/>
    <dgm:cxn modelId="{06CD43D9-0593-4E19-9718-DBABB6282EE4}" type="presParOf" srcId="{8F01C2DE-CF1B-42A5-9683-F1633CFC634A}" destId="{CE7AE94A-2056-491A-8097-A9835F8B667B}" srcOrd="0" destOrd="0" presId="urn:microsoft.com/office/officeart/2005/8/layout/process4"/>
    <dgm:cxn modelId="{77A3ABA6-180F-494D-986A-4270DC2F7271}" type="presParOf" srcId="{14607A5F-A3D9-427D-A977-00020E13E776}" destId="{FA5A1547-B619-4B3F-8410-5FC18C674653}" srcOrd="5" destOrd="0" presId="urn:microsoft.com/office/officeart/2005/8/layout/process4"/>
    <dgm:cxn modelId="{273A7ED7-126D-418E-9611-5C24BEC7E9FE}" type="presParOf" srcId="{14607A5F-A3D9-427D-A977-00020E13E776}" destId="{339B508A-D30E-42A1-BB80-40E80C36F4E2}" srcOrd="6" destOrd="0" presId="urn:microsoft.com/office/officeart/2005/8/layout/process4"/>
    <dgm:cxn modelId="{6B3A8C18-A8DC-4B39-8E66-02A91DE58CC5}" type="presParOf" srcId="{339B508A-D30E-42A1-BB80-40E80C36F4E2}" destId="{52FB9DCC-6E62-4B5C-843A-6DB1FD40FD19}" srcOrd="0" destOrd="0" presId="urn:microsoft.com/office/officeart/2005/8/layout/process4"/>
    <dgm:cxn modelId="{1D9B139B-230F-44CD-9F6D-0CE63577CEBF}" type="presParOf" srcId="{14607A5F-A3D9-427D-A977-00020E13E776}" destId="{57E8CAE7-83A2-455C-AB5E-039211CE2E6F}" srcOrd="7" destOrd="0" presId="urn:microsoft.com/office/officeart/2005/8/layout/process4"/>
    <dgm:cxn modelId="{F6F50FA6-44C2-4592-AD1D-46AD09636F71}" type="presParOf" srcId="{14607A5F-A3D9-427D-A977-00020E13E776}" destId="{ECE31349-018C-457A-907B-D98C0ABA0EB5}" srcOrd="8" destOrd="0" presId="urn:microsoft.com/office/officeart/2005/8/layout/process4"/>
    <dgm:cxn modelId="{401FB0C9-52D5-4B2D-9B17-A290AA4A8398}" type="presParOf" srcId="{ECE31349-018C-457A-907B-D98C0ABA0EB5}" destId="{B95D6CE2-45F4-469B-AB3D-57D59BF9F2C6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CEEC18-277E-4D60-99A9-2F4AF108EB83}">
      <dsp:nvSpPr>
        <dsp:cNvPr id="0" name=""/>
        <dsp:cNvSpPr/>
      </dsp:nvSpPr>
      <dsp:spPr>
        <a:xfrm rot="5400000">
          <a:off x="5372156" y="-2171050"/>
          <a:ext cx="909462" cy="5484129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500" b="1" kern="1200" dirty="0"/>
            <a:t>Taxe sur la valeur ajoutée</a:t>
          </a:r>
        </a:p>
      </dsp:txBody>
      <dsp:txXfrm rot="-5400000">
        <a:off x="3084823" y="160679"/>
        <a:ext cx="5439733" cy="820670"/>
      </dsp:txXfrm>
    </dsp:sp>
    <dsp:sp modelId="{250DF100-6CBA-4F3E-A1A0-CAB046AC3603}">
      <dsp:nvSpPr>
        <dsp:cNvPr id="0" name=""/>
        <dsp:cNvSpPr/>
      </dsp:nvSpPr>
      <dsp:spPr>
        <a:xfrm>
          <a:off x="0" y="2600"/>
          <a:ext cx="3084822" cy="1136827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300" b="1" kern="1200" dirty="0"/>
            <a:t>TVA</a:t>
          </a:r>
        </a:p>
      </dsp:txBody>
      <dsp:txXfrm>
        <a:off x="55495" y="58095"/>
        <a:ext cx="2973832" cy="1025837"/>
      </dsp:txXfrm>
    </dsp:sp>
    <dsp:sp modelId="{442813C6-26AD-426C-B935-825D70FC658A}">
      <dsp:nvSpPr>
        <dsp:cNvPr id="0" name=""/>
        <dsp:cNvSpPr/>
      </dsp:nvSpPr>
      <dsp:spPr>
        <a:xfrm rot="5400000">
          <a:off x="5372156" y="-977381"/>
          <a:ext cx="909462" cy="5484129"/>
        </a:xfrm>
        <a:prstGeom prst="round2Same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500" b="1" kern="1200" dirty="0"/>
            <a:t>Personne imposable en matière de TVA</a:t>
          </a:r>
        </a:p>
      </dsp:txBody>
      <dsp:txXfrm rot="-5400000">
        <a:off x="3084823" y="1354348"/>
        <a:ext cx="5439733" cy="820670"/>
      </dsp:txXfrm>
    </dsp:sp>
    <dsp:sp modelId="{564E2EEF-B547-4254-BA6A-728D07B2A2CA}">
      <dsp:nvSpPr>
        <dsp:cNvPr id="0" name=""/>
        <dsp:cNvSpPr/>
      </dsp:nvSpPr>
      <dsp:spPr>
        <a:xfrm>
          <a:off x="0" y="1196269"/>
          <a:ext cx="3084822" cy="1136827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300" b="1" kern="1200" dirty="0"/>
            <a:t>Assujetti</a:t>
          </a:r>
        </a:p>
      </dsp:txBody>
      <dsp:txXfrm>
        <a:off x="55495" y="1251764"/>
        <a:ext cx="2973832" cy="1025837"/>
      </dsp:txXfrm>
    </dsp:sp>
    <dsp:sp modelId="{87789FC3-6358-435F-8FB1-9C3D59222CAD}">
      <dsp:nvSpPr>
        <dsp:cNvPr id="0" name=""/>
        <dsp:cNvSpPr/>
      </dsp:nvSpPr>
      <dsp:spPr>
        <a:xfrm rot="5400000">
          <a:off x="5372156" y="216287"/>
          <a:ext cx="909462" cy="5484129"/>
        </a:xfrm>
        <a:prstGeom prst="round2Same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500" b="1" kern="1200" dirty="0"/>
            <a:t>TVA encaissée par un assujetti lors d’une vente</a:t>
          </a:r>
        </a:p>
      </dsp:txBody>
      <dsp:txXfrm rot="-5400000">
        <a:off x="3084823" y="2548016"/>
        <a:ext cx="5439733" cy="820670"/>
      </dsp:txXfrm>
    </dsp:sp>
    <dsp:sp modelId="{90933AB5-231A-4325-87E3-D057F3D598A6}">
      <dsp:nvSpPr>
        <dsp:cNvPr id="0" name=""/>
        <dsp:cNvSpPr/>
      </dsp:nvSpPr>
      <dsp:spPr>
        <a:xfrm>
          <a:off x="0" y="2389938"/>
          <a:ext cx="3084822" cy="1136827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300" b="1" kern="1200" dirty="0"/>
            <a:t>TVA collectée</a:t>
          </a:r>
        </a:p>
      </dsp:txBody>
      <dsp:txXfrm>
        <a:off x="55495" y="2445433"/>
        <a:ext cx="2973832" cy="1025837"/>
      </dsp:txXfrm>
    </dsp:sp>
    <dsp:sp modelId="{632D6F6A-1B3F-4A77-96EA-DCF243119693}">
      <dsp:nvSpPr>
        <dsp:cNvPr id="0" name=""/>
        <dsp:cNvSpPr/>
      </dsp:nvSpPr>
      <dsp:spPr>
        <a:xfrm rot="5400000">
          <a:off x="5372156" y="1409957"/>
          <a:ext cx="909462" cy="5484129"/>
        </a:xfrm>
        <a:prstGeom prst="round2Same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500" b="1" kern="1200" dirty="0"/>
            <a:t>TVA payée par un assujetti lors d’un achat</a:t>
          </a:r>
        </a:p>
      </dsp:txBody>
      <dsp:txXfrm rot="-5400000">
        <a:off x="3084823" y="3741686"/>
        <a:ext cx="5439733" cy="820670"/>
      </dsp:txXfrm>
    </dsp:sp>
    <dsp:sp modelId="{EC94EA1D-1196-487C-8BCD-2C8F732400A6}">
      <dsp:nvSpPr>
        <dsp:cNvPr id="0" name=""/>
        <dsp:cNvSpPr/>
      </dsp:nvSpPr>
      <dsp:spPr>
        <a:xfrm>
          <a:off x="0" y="3583607"/>
          <a:ext cx="3084822" cy="1136827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300" b="1" kern="1200" dirty="0"/>
            <a:t>TVA déductible</a:t>
          </a:r>
        </a:p>
      </dsp:txBody>
      <dsp:txXfrm>
        <a:off x="55495" y="3639102"/>
        <a:ext cx="2973832" cy="1025837"/>
      </dsp:txXfrm>
    </dsp:sp>
    <dsp:sp modelId="{87965EE2-DBC4-4893-8519-F0D0B02A6929}">
      <dsp:nvSpPr>
        <dsp:cNvPr id="0" name=""/>
        <dsp:cNvSpPr/>
      </dsp:nvSpPr>
      <dsp:spPr>
        <a:xfrm rot="5400000">
          <a:off x="5372156" y="2603626"/>
          <a:ext cx="909462" cy="5484129"/>
        </a:xfrm>
        <a:prstGeom prst="round2SameRect">
          <a:avLst/>
        </a:prstGeom>
        <a:solidFill>
          <a:schemeClr val="accent6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500" b="1" kern="1200" dirty="0"/>
            <a:t>TVA collectée – TVA déductible</a:t>
          </a:r>
        </a:p>
      </dsp:txBody>
      <dsp:txXfrm rot="-5400000">
        <a:off x="3084823" y="4935355"/>
        <a:ext cx="5439733" cy="820670"/>
      </dsp:txXfrm>
    </dsp:sp>
    <dsp:sp modelId="{33BA15D6-3839-4086-825D-9C1E6CA67B35}">
      <dsp:nvSpPr>
        <dsp:cNvPr id="0" name=""/>
        <dsp:cNvSpPr/>
      </dsp:nvSpPr>
      <dsp:spPr>
        <a:xfrm>
          <a:off x="0" y="4777277"/>
          <a:ext cx="3084822" cy="1136827"/>
        </a:xfrm>
        <a:prstGeom prst="round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300" b="1" kern="1200" dirty="0"/>
            <a:t>TVA à décaisser</a:t>
          </a:r>
        </a:p>
      </dsp:txBody>
      <dsp:txXfrm>
        <a:off x="55495" y="4832772"/>
        <a:ext cx="2973832" cy="102583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D56498-76C6-4323-93A9-4640F3721F8F}">
      <dsp:nvSpPr>
        <dsp:cNvPr id="0" name=""/>
        <dsp:cNvSpPr/>
      </dsp:nvSpPr>
      <dsp:spPr>
        <a:xfrm>
          <a:off x="0" y="4760900"/>
          <a:ext cx="5112568" cy="781065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700" b="1" kern="1200" dirty="0"/>
            <a:t>TTC / (1 + Taux de TVA) = HT</a:t>
          </a:r>
        </a:p>
      </dsp:txBody>
      <dsp:txXfrm>
        <a:off x="0" y="4760900"/>
        <a:ext cx="5112568" cy="781065"/>
      </dsp:txXfrm>
    </dsp:sp>
    <dsp:sp modelId="{EF5A2A74-FDAD-42E5-9CF9-03D7B9F1E5E7}">
      <dsp:nvSpPr>
        <dsp:cNvPr id="0" name=""/>
        <dsp:cNvSpPr/>
      </dsp:nvSpPr>
      <dsp:spPr>
        <a:xfrm rot="10800000">
          <a:off x="0" y="3571337"/>
          <a:ext cx="5112568" cy="1201278"/>
        </a:xfrm>
        <a:prstGeom prst="upArrowCallou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700" b="1" kern="1200" dirty="0"/>
            <a:t>HT x (1 + Taux de TVA) = TTC</a:t>
          </a:r>
        </a:p>
      </dsp:txBody>
      <dsp:txXfrm rot="10800000">
        <a:off x="0" y="3571337"/>
        <a:ext cx="5112568" cy="780554"/>
      </dsp:txXfrm>
    </dsp:sp>
    <dsp:sp modelId="{CE7AE94A-2056-491A-8097-A9835F8B667B}">
      <dsp:nvSpPr>
        <dsp:cNvPr id="0" name=""/>
        <dsp:cNvSpPr/>
      </dsp:nvSpPr>
      <dsp:spPr>
        <a:xfrm rot="10800000">
          <a:off x="0" y="2381775"/>
          <a:ext cx="5112568" cy="1201278"/>
        </a:xfrm>
        <a:prstGeom prst="upArrowCallou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700" b="1" kern="1200" dirty="0"/>
            <a:t>HT + (HT x Taux de TVA) = TTC</a:t>
          </a:r>
        </a:p>
      </dsp:txBody>
      <dsp:txXfrm rot="10800000">
        <a:off x="0" y="2381775"/>
        <a:ext cx="5112568" cy="780554"/>
      </dsp:txXfrm>
    </dsp:sp>
    <dsp:sp modelId="{52FB9DCC-6E62-4B5C-843A-6DB1FD40FD19}">
      <dsp:nvSpPr>
        <dsp:cNvPr id="0" name=""/>
        <dsp:cNvSpPr/>
      </dsp:nvSpPr>
      <dsp:spPr>
        <a:xfrm rot="10800000">
          <a:off x="0" y="1192212"/>
          <a:ext cx="5112568" cy="1201278"/>
        </a:xfrm>
        <a:prstGeom prst="upArrowCallou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700" b="1" kern="1200" dirty="0"/>
            <a:t>HT x Taux de TVA = TVA</a:t>
          </a:r>
        </a:p>
      </dsp:txBody>
      <dsp:txXfrm rot="10800000">
        <a:off x="0" y="1192212"/>
        <a:ext cx="5112568" cy="780554"/>
      </dsp:txXfrm>
    </dsp:sp>
    <dsp:sp modelId="{B95D6CE2-45F4-469B-AB3D-57D59BF9F2C6}">
      <dsp:nvSpPr>
        <dsp:cNvPr id="0" name=""/>
        <dsp:cNvSpPr/>
      </dsp:nvSpPr>
      <dsp:spPr>
        <a:xfrm rot="10800000">
          <a:off x="0" y="2650"/>
          <a:ext cx="5112568" cy="1201278"/>
        </a:xfrm>
        <a:prstGeom prst="upArrowCallou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700" b="1" kern="1200" dirty="0"/>
            <a:t>HT + TVA = TTC</a:t>
          </a:r>
        </a:p>
      </dsp:txBody>
      <dsp:txXfrm rot="10800000">
        <a:off x="0" y="2650"/>
        <a:ext cx="5112568" cy="78055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D56498-76C6-4323-93A9-4640F3721F8F}">
      <dsp:nvSpPr>
        <dsp:cNvPr id="0" name=""/>
        <dsp:cNvSpPr/>
      </dsp:nvSpPr>
      <dsp:spPr>
        <a:xfrm>
          <a:off x="0" y="4760900"/>
          <a:ext cx="3672408" cy="781065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1" kern="1200" dirty="0"/>
            <a:t>120 / 1,2 = 100 €</a:t>
          </a:r>
        </a:p>
      </dsp:txBody>
      <dsp:txXfrm>
        <a:off x="0" y="4760900"/>
        <a:ext cx="3672408" cy="781065"/>
      </dsp:txXfrm>
    </dsp:sp>
    <dsp:sp modelId="{EF5A2A74-FDAD-42E5-9CF9-03D7B9F1E5E7}">
      <dsp:nvSpPr>
        <dsp:cNvPr id="0" name=""/>
        <dsp:cNvSpPr/>
      </dsp:nvSpPr>
      <dsp:spPr>
        <a:xfrm rot="10800000">
          <a:off x="0" y="3600396"/>
          <a:ext cx="3672408" cy="1201278"/>
        </a:xfrm>
        <a:prstGeom prst="upArrowCallou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1" kern="1200" dirty="0"/>
            <a:t>100 x (1 + 0,2) = 120 €</a:t>
          </a:r>
        </a:p>
      </dsp:txBody>
      <dsp:txXfrm rot="10800000">
        <a:off x="0" y="3600396"/>
        <a:ext cx="3672408" cy="780554"/>
      </dsp:txXfrm>
    </dsp:sp>
    <dsp:sp modelId="{CE7AE94A-2056-491A-8097-A9835F8B667B}">
      <dsp:nvSpPr>
        <dsp:cNvPr id="0" name=""/>
        <dsp:cNvSpPr/>
      </dsp:nvSpPr>
      <dsp:spPr>
        <a:xfrm rot="10800000">
          <a:off x="0" y="2381775"/>
          <a:ext cx="3672408" cy="1201278"/>
        </a:xfrm>
        <a:prstGeom prst="upArrowCallou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1" kern="1200" dirty="0"/>
            <a:t>100 + (100 x 20%) = 120 €</a:t>
          </a:r>
        </a:p>
      </dsp:txBody>
      <dsp:txXfrm rot="10800000">
        <a:off x="0" y="2381775"/>
        <a:ext cx="3672408" cy="780554"/>
      </dsp:txXfrm>
    </dsp:sp>
    <dsp:sp modelId="{52FB9DCC-6E62-4B5C-843A-6DB1FD40FD19}">
      <dsp:nvSpPr>
        <dsp:cNvPr id="0" name=""/>
        <dsp:cNvSpPr/>
      </dsp:nvSpPr>
      <dsp:spPr>
        <a:xfrm rot="10800000">
          <a:off x="0" y="1188128"/>
          <a:ext cx="3672408" cy="1201278"/>
        </a:xfrm>
        <a:prstGeom prst="upArrowCallou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1" kern="1200" dirty="0"/>
            <a:t>100 x 20 % = 20 €</a:t>
          </a:r>
        </a:p>
      </dsp:txBody>
      <dsp:txXfrm rot="10800000">
        <a:off x="0" y="1188128"/>
        <a:ext cx="3672408" cy="780554"/>
      </dsp:txXfrm>
    </dsp:sp>
    <dsp:sp modelId="{B95D6CE2-45F4-469B-AB3D-57D59BF9F2C6}">
      <dsp:nvSpPr>
        <dsp:cNvPr id="0" name=""/>
        <dsp:cNvSpPr/>
      </dsp:nvSpPr>
      <dsp:spPr>
        <a:xfrm rot="10800000">
          <a:off x="0" y="0"/>
          <a:ext cx="3672408" cy="1201278"/>
        </a:xfrm>
        <a:prstGeom prst="upArrowCallou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1" kern="1200" dirty="0"/>
            <a:t>100 + 20 = 120 €</a:t>
          </a:r>
        </a:p>
      </dsp:txBody>
      <dsp:txXfrm rot="10800000">
        <a:off x="0" y="0"/>
        <a:ext cx="3672408" cy="7805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74E31-4102-4DAB-AA30-205A8BC854D4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99E81F-EEE6-4E3A-AE16-C0BE10FF168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5402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6770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125218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847618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79604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239542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18539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135677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4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98335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7BD57D-84CD-4DA6-ACCF-8CEC063D82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D19402C-4986-4F03-B149-B59478CBC5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6A17A5-4404-44D9-B645-2177629EB8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036A295-F235-411B-8653-78D5CFEBA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4D0148C-2377-437A-9B96-C1D01D45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2417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CF77D9-A2E2-47AF-9DA6-3E88E50ED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BF1DE80-A284-4C12-8998-96E09ECD2B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39B5A0B-FBB5-4756-860F-875AB0CB74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42CC808-89A4-47E4-B295-3F9116F829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D55BD20-72DC-487C-8B40-787775EBC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54805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C2353EA2-D366-4F02-B08A-5FEED95BD9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94DA6CD5-251E-4DFA-B380-5EB2130294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85B917B-2B60-4988-B84F-D3AFCB1DD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FB53DFA-3E34-4A01-A1E8-6D7B74457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8A9D7E8-2346-4B4B-9CF9-1C67D6668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22623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39147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55445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08427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77953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63619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76182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42420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2070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D533BA-64DD-46E7-AC37-8284A1B92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5FA018E-EDA2-4960-8996-9D0F0B3713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1E258E7-ED34-4740-9A51-3EF636548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E4DA7DE-70E6-4FC4-AEB8-2B4A910288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74F055B-A12A-40C8-913E-87AC2D74D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42643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929496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50211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231673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05/05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016768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05/05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96153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05/05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72922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05/05/2021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77059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05/05/2021</a:t>
            </a:fld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401965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05/05/2021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051628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05/05/2021</a:t>
            </a:fld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32192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A53301-5DB9-4753-ABD4-856DD5147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6065A32-834F-432D-A0D3-7ECBC848C5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616BCDE-E203-48ED-B45F-9D93DC3EF8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44B27C3-8E90-44EF-B2A0-1D4A9700A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5169281-95B4-43D4-BD98-2009AB077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65402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05/05/2021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90929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05/05/2021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619978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05/05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52016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57B79-3F79-4FAA-96AD-F8E93C37DE5B}" type="datetimeFigureOut">
              <a:rPr lang="fr-FR" smtClean="0"/>
              <a:pPr/>
              <a:t>05/05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644608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3EE1FC-395B-4804-BCED-98B869CA37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D30819D-33A8-4726-B505-831ADB90F9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727D8D7-37DF-475A-8F8B-107336CE7F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26DA209-39AA-44B8-BA06-71668A7279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E701A22-5ACC-4505-9A5B-EFFCF1BEE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A5BF9EC-FDAE-4527-A964-C32D4D885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2459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1E377DA-C3AC-4A42-9312-85C3B28A1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EECFD34-CCC4-4C10-95D2-1DCC3D8755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D248D42-AEE2-48BB-B8A6-37B3BF1EC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FF54CA6-B4B3-4EBE-BAA9-8A083AD04B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CB67F1B9-3210-4603-A593-82AA147797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4FE2936-F0AC-4E86-9BB9-6C88937F1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D4B4DA8C-4CAE-47BB-B5D8-D3CD8CA087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F733564-54DF-4A81-A1E0-E16BDFCCC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5600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106E18-40BE-4CE6-A1DE-51E2FCB71E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C9E90AC-A901-4B3B-8F1A-62F80383E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B69960F-910E-441F-9234-4EFA03174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DEAD386-BAAD-4887-AEC1-ACEC7AC75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0842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EA3A60B-5261-4319-9606-C7A19FE79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CD7E47D-E0D5-4EA3-A174-877281D1E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BBA8F0E-BF11-4E0E-B6B3-0C4D3ED9A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423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0D5B282-2CDC-43BA-91BF-BB825DDC3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B2B1462-82C2-41F9-B928-24CD0E058B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8E6443F-D9C8-4B0A-A85E-AFB98C1784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E58546B2-B4AD-4632-A7F6-E278F595C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95E8C30-5617-4C3D-86F5-1BB6370D38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698214D-67A4-4095-A830-2541FC31F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1998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B9969A8-DB1E-4329-86AA-AAC523FDA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7A97373-2753-4E91-A499-97DCFA713F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E0A5C63-7589-47D3-A6A8-2BAA1AA21C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658AF3C-8B47-4456-B292-94827E8D0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A94149C-1965-48BE-A21B-231EFD479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75B3F0F-B380-4E1B-AC33-1610717B8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35538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B24DAE3-D939-4C4D-88F9-662ED8E02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0D21944-0B8F-4C3A-9BCA-D8EF26A831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B3C1B60-F7FD-45E2-AFE6-969B7E482D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66FD234-03EA-4C46-8B22-CFC6DD2300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10ED5CD-B777-437E-B0F8-CFA32F5B35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1814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7264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E57B79-3F79-4FAA-96AD-F8E93C37DE5B}" type="datetimeFigureOut">
              <a:rPr lang="fr-FR" smtClean="0"/>
              <a:pPr/>
              <a:t>05/05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3AE209-B4BA-4EDE-BFD3-3B111034EB5F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070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ervice-public.fr/professionnels-entreprises/vosdroits/F31808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ervice-public.fr/professionnels-entreprises/vosdroits/F31808" TargetMode="Externa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ervice-public.fr/professionnels-entreprises/vosdroits/F31808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ervice-public.fr/professionnels-entreprises/vosdroits/F23570" TargetMode="External"/><Relationship Id="rId2" Type="http://schemas.openxmlformats.org/officeDocument/2006/relationships/hyperlink" Target="https://www.service-public.fr/professionnels-entreprises/vosdroits/F31808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ervice-public.fr/professionnels-entreprises/vosdroits/F23567" TargetMode="External"/><Relationship Id="rId2" Type="http://schemas.openxmlformats.org/officeDocument/2006/relationships/hyperlink" Target="https://www.service-public.fr/professionnels-entreprises/vosdroits/F31808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ervice-public.fr/professionnels-entreprises/vosdroits/F23211" TargetMode="External"/><Relationship Id="rId2" Type="http://schemas.openxmlformats.org/officeDocument/2006/relationships/hyperlink" Target="https://www.service-public.fr/professionnels-entreprises/vosdroits/F31808" TargetMode="Externa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ervice-public.fr/professionnels-entreprises/vosdroits/F31983" TargetMode="External"/><Relationship Id="rId2" Type="http://schemas.openxmlformats.org/officeDocument/2006/relationships/hyperlink" Target="https://www.service-public.fr/professionnels-entreprises/vosdroits/F31808" TargetMode="Externa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package" Target="../embeddings/Microsoft_Word_Document.docx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hyperlink" Target="https://espritscience.blogspot.com/2008/01/du-rapport-des-temps.html" TargetMode="External"/><Relationship Id="rId4" Type="http://schemas.openxmlformats.org/officeDocument/2006/relationships/image" Target="../media/image7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package" Target="../embeddings/Microsoft_Word_Document1.docx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package" Target="../embeddings/Microsoft_Word_Document2.docx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3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F09AF2F-022D-42E7-9EE8-B11BCE898D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64614" y="1783959"/>
            <a:ext cx="4087306" cy="2889114"/>
          </a:xfrm>
        </p:spPr>
        <p:txBody>
          <a:bodyPr anchor="b">
            <a:normAutofit fontScale="90000"/>
          </a:bodyPr>
          <a:lstStyle/>
          <a:p>
            <a:pPr algn="l"/>
            <a:r>
              <a:rPr lang="fr-FR" sz="5400" dirty="0">
                <a:latin typeface="Arial" panose="020B0604020202020204" pitchFamily="34" charset="0"/>
                <a:cs typeface="Arial" panose="020B0604020202020204" pitchFamily="34" charset="0"/>
              </a:rPr>
              <a:t>Université de Montpellier</a:t>
            </a:r>
            <a:br>
              <a:rPr lang="fr-FR" sz="5400" dirty="0"/>
            </a:br>
            <a:endParaRPr lang="fr-FR" sz="5400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1349F9F-31B4-41DC-B4DB-C097467B5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4612" y="4750893"/>
            <a:ext cx="4489965" cy="1147863"/>
          </a:xfrm>
        </p:spPr>
        <p:txBody>
          <a:bodyPr anchor="t">
            <a:normAutofit fontScale="70000" lnSpcReduction="20000"/>
          </a:bodyPr>
          <a:lstStyle/>
          <a:p>
            <a:pPr algn="l"/>
            <a:endParaRPr lang="fr-FR" sz="2000" dirty="0"/>
          </a:p>
          <a:p>
            <a:pPr algn="l"/>
            <a:r>
              <a:rPr lang="fr-FR" sz="4000" dirty="0">
                <a:latin typeface="Arial" panose="020B0604020202020204" pitchFamily="34" charset="0"/>
                <a:cs typeface="Arial" panose="020B0604020202020204" pitchFamily="34" charset="0"/>
              </a:rPr>
              <a:t>Cours de comptabilité </a:t>
            </a:r>
            <a:r>
              <a:rPr lang="fr-FR" sz="4000">
                <a:latin typeface="Arial" panose="020B0604020202020204" pitchFamily="34" charset="0"/>
                <a:cs typeface="Arial" panose="020B0604020202020204" pitchFamily="34" charset="0"/>
              </a:rPr>
              <a:t>N°6</a:t>
            </a:r>
            <a:endParaRPr lang="fr-FR" sz="4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fr-FR" sz="4000" dirty="0">
                <a:latin typeface="Arial" panose="020B0604020202020204" pitchFamily="34" charset="0"/>
                <a:cs typeface="Arial" panose="020B0604020202020204" pitchFamily="34" charset="0"/>
              </a:rPr>
              <a:t>26 mars 2021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49CC64F-7275-4E33-961B-0C5CDC4398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1" y="0"/>
            <a:ext cx="7188051" cy="6858000"/>
          </a:xfrm>
          <a:custGeom>
            <a:avLst/>
            <a:gdLst>
              <a:gd name="connsiteX0" fmla="*/ 7188051 w 7188051"/>
              <a:gd name="connsiteY0" fmla="*/ 6858000 h 6858000"/>
              <a:gd name="connsiteX1" fmla="*/ 108694 w 7188051"/>
              <a:gd name="connsiteY1" fmla="*/ 6858000 h 6858000"/>
              <a:gd name="connsiteX2" fmla="*/ 79127 w 7188051"/>
              <a:gd name="connsiteY2" fmla="*/ 6681235 h 6858000"/>
              <a:gd name="connsiteX3" fmla="*/ 0 w 7188051"/>
              <a:gd name="connsiteY3" fmla="*/ 5565888 h 6858000"/>
              <a:gd name="connsiteX4" fmla="*/ 2190696 w 7188051"/>
              <a:gd name="connsiteY4" fmla="*/ 145339 h 6858000"/>
              <a:gd name="connsiteX5" fmla="*/ 2339431 w 7188051"/>
              <a:gd name="connsiteY5" fmla="*/ 0 h 6858000"/>
              <a:gd name="connsiteX6" fmla="*/ 7188051 w 718805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88051" h="6858000">
                <a:moveTo>
                  <a:pt x="7188051" y="6858000"/>
                </a:moveTo>
                <a:lnTo>
                  <a:pt x="108694" y="6858000"/>
                </a:lnTo>
                <a:lnTo>
                  <a:pt x="79127" y="6681235"/>
                </a:lnTo>
                <a:cubicBezTo>
                  <a:pt x="26981" y="6316967"/>
                  <a:pt x="0" y="5944579"/>
                  <a:pt x="0" y="5565888"/>
                </a:cubicBezTo>
                <a:cubicBezTo>
                  <a:pt x="0" y="3459953"/>
                  <a:pt x="834428" y="1548908"/>
                  <a:pt x="2190696" y="145339"/>
                </a:cubicBezTo>
                <a:lnTo>
                  <a:pt x="2339431" y="0"/>
                </a:lnTo>
                <a:lnTo>
                  <a:pt x="7188051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4" descr="Bibliothèque publique floue abstraite avec des étagères à livres">
            <a:extLst>
              <a:ext uri="{FF2B5EF4-FFF2-40B4-BE49-F238E27FC236}">
                <a16:creationId xmlns:a16="http://schemas.microsoft.com/office/drawing/2014/main" id="{7BB6D41E-7376-4805-B0B6-C72AFA381B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625" r="26964" b="-1"/>
          <a:stretch/>
        </p:blipFill>
        <p:spPr>
          <a:xfrm>
            <a:off x="1" y="10"/>
            <a:ext cx="7028495" cy="6857990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48639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Principe TVA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841" y="1874786"/>
            <a:ext cx="11051959" cy="468822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0" indent="0" algn="just">
              <a:buNone/>
            </a:pPr>
            <a:r>
              <a:rPr lang="fr-FR" sz="2000" dirty="0"/>
              <a:t>Achats HT : 		150 €					Vente HT : 		400 €</a:t>
            </a:r>
          </a:p>
          <a:p>
            <a:pPr marL="0" indent="0" algn="just">
              <a:buNone/>
            </a:pPr>
            <a:r>
              <a:rPr lang="fr-FR" sz="2000" u="sng" dirty="0"/>
              <a:t>TVA déductible :	30 €	</a:t>
            </a:r>
            <a:r>
              <a:rPr lang="fr-FR" sz="2000" dirty="0"/>
              <a:t>				</a:t>
            </a:r>
            <a:r>
              <a:rPr lang="fr-FR" sz="2000" u="sng" dirty="0"/>
              <a:t>TVA collectée : 	 80 € </a:t>
            </a:r>
          </a:p>
          <a:p>
            <a:pPr marL="0" indent="0" algn="just">
              <a:buNone/>
            </a:pPr>
            <a:r>
              <a:rPr lang="fr-FR" sz="2000" dirty="0"/>
              <a:t>TTC :		180 €					TTC : 		480 € </a:t>
            </a:r>
          </a:p>
          <a:p>
            <a:pPr marL="0" indent="0" algn="just">
              <a:buNone/>
            </a:pPr>
            <a:endParaRPr lang="fr-FR" sz="2000" dirty="0"/>
          </a:p>
          <a:p>
            <a:pPr marL="0" indent="0" algn="just">
              <a:buNone/>
            </a:pPr>
            <a:r>
              <a:rPr lang="fr-FR" sz="2000" dirty="0"/>
              <a:t>Déclaration de TVA : collectée – déductible = 80 – 30 = 50 € de TVA à payer (à rendre)</a:t>
            </a:r>
          </a:p>
          <a:p>
            <a:pPr marL="0" indent="0" algn="just">
              <a:buNone/>
            </a:pPr>
            <a:endParaRPr lang="fr-FR" sz="2000" dirty="0"/>
          </a:p>
          <a:p>
            <a:pPr marL="0" indent="0" algn="just">
              <a:buNone/>
            </a:pPr>
            <a:r>
              <a:rPr lang="fr-FR" sz="2000" dirty="0"/>
              <a:t>Trésorerie = encaissé 480 et décaissé 180 € + 50 = 230 soit un solde de 250 € qui correspond bien à ma marge/valeur ajoutée ( 400 - 150)</a:t>
            </a:r>
          </a:p>
          <a:p>
            <a:pPr marL="0" indent="0" algn="just">
              <a:buNone/>
            </a:pPr>
            <a:r>
              <a:rPr lang="fr-FR" sz="2000" dirty="0">
                <a:highlight>
                  <a:srgbClr val="FFFF00"/>
                </a:highlight>
              </a:rPr>
              <a:t>Effet 1 : Neutralité =&gt; économique mais elle  engendre un flux financier</a:t>
            </a:r>
          </a:p>
          <a:p>
            <a:pPr marL="0" indent="0" algn="just">
              <a:buNone/>
            </a:pPr>
            <a:endParaRPr lang="fr-FR" sz="2000" dirty="0"/>
          </a:p>
          <a:p>
            <a:pPr marL="0" indent="0" algn="just">
              <a:buNone/>
            </a:pPr>
            <a:r>
              <a:rPr lang="fr-FR" sz="2000" dirty="0"/>
              <a:t>50 € à payer correspondent bien à marge * taux = soit (400-150) * 20 % = 50 €</a:t>
            </a:r>
          </a:p>
          <a:p>
            <a:pPr marL="0" indent="0" algn="just">
              <a:buNone/>
            </a:pPr>
            <a:r>
              <a:rPr lang="fr-FR" sz="2000" dirty="0">
                <a:highlight>
                  <a:srgbClr val="FFFF00"/>
                </a:highlight>
              </a:rPr>
              <a:t>Effet 2 : la TVA est bien une TAXE sur la VALEUR AJOUTEE </a:t>
            </a:r>
          </a:p>
        </p:txBody>
      </p:sp>
    </p:spTree>
    <p:extLst>
      <p:ext uri="{BB962C8B-B14F-4D97-AF65-F5344CB8AC3E}">
        <p14:creationId xmlns:p14="http://schemas.microsoft.com/office/powerpoint/2010/main" val="24138775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7" name="Rectangle 76">
            <a:extLst>
              <a:ext uri="{FF2B5EF4-FFF2-40B4-BE49-F238E27FC236}">
                <a16:creationId xmlns:a16="http://schemas.microsoft.com/office/drawing/2014/main" id="{8537B233-9CDD-4A90-AABB-A8963DEE4F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3400" y="818457"/>
            <a:ext cx="3322317" cy="2975876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br>
              <a:rPr lang="en-US" sz="3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en-US" sz="31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t="21540" b="21540"/>
          <a:stretch/>
        </p:blipFill>
        <p:spPr>
          <a:xfrm>
            <a:off x="716280" y="2215808"/>
            <a:ext cx="5401937" cy="2036367"/>
          </a:xfrm>
          <a:prstGeom prst="rect">
            <a:avLst/>
          </a:prstGeom>
        </p:spPr>
      </p:pic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040575EE-C594-4566-BC00-663004E52A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617861" y="1417320"/>
            <a:ext cx="0" cy="402336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8045042" y="1417320"/>
            <a:ext cx="364977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>
                <a:latin typeface="Arial" panose="020B0604020202020204" pitchFamily="34" charset="0"/>
                <a:cs typeface="Arial" panose="020B0604020202020204" pitchFamily="34" charset="0"/>
              </a:rPr>
              <a:t>Les écritures et la TVA</a:t>
            </a:r>
          </a:p>
          <a:p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15866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omptabilisation - principes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Je comptabilise la TVA dans un compte de tiers puisqu’elle est neutre économiquement =&gt; compte 445…</a:t>
            </a:r>
          </a:p>
          <a:p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Je comptabilise le flux économique en tenant compte du montant HT + TVA vs le montant TTC</a:t>
            </a:r>
          </a:p>
          <a:p>
            <a:pPr marL="0" indent="0">
              <a:buNone/>
            </a:pPr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2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Je comptabilise le flux de trésorerie en TTC</a:t>
            </a:r>
          </a:p>
          <a:p>
            <a:r>
              <a:rPr lang="fr-FR" sz="2200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Je comptabilise éventuellement la déclaration de TVA (double flux financiers)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23439948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Règles  - TVA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1300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8B7C3765-CF61-4673-9715-52D9DB708A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3731216"/>
              </p:ext>
            </p:extLst>
          </p:nvPr>
        </p:nvGraphicFramePr>
        <p:xfrm>
          <a:off x="1280159" y="2116183"/>
          <a:ext cx="10470801" cy="4458787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3472290">
                  <a:extLst>
                    <a:ext uri="{9D8B030D-6E8A-4147-A177-3AD203B41FA5}">
                      <a16:colId xmlns:a16="http://schemas.microsoft.com/office/drawing/2014/main" val="4223350383"/>
                    </a:ext>
                  </a:extLst>
                </a:gridCol>
                <a:gridCol w="2531428">
                  <a:extLst>
                    <a:ext uri="{9D8B030D-6E8A-4147-A177-3AD203B41FA5}">
                      <a16:colId xmlns:a16="http://schemas.microsoft.com/office/drawing/2014/main" val="970435890"/>
                    </a:ext>
                  </a:extLst>
                </a:gridCol>
                <a:gridCol w="4467083">
                  <a:extLst>
                    <a:ext uri="{9D8B030D-6E8A-4147-A177-3AD203B41FA5}">
                      <a16:colId xmlns:a16="http://schemas.microsoft.com/office/drawing/2014/main" val="1157005841"/>
                    </a:ext>
                  </a:extLst>
                </a:gridCol>
              </a:tblGrid>
              <a:tr h="876077">
                <a:tc>
                  <a:txBody>
                    <a:bodyPr/>
                    <a:lstStyle/>
                    <a:p>
                      <a:pPr marL="36195" marR="36195"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</a:rPr>
                        <a:t>Opérations</a:t>
                      </a:r>
                      <a:endParaRPr lang="fr-FR" sz="1600" b="1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</a:rPr>
                        <a:t>Fait générateur</a:t>
                      </a:r>
                      <a:endParaRPr lang="fr-FR" sz="1600" b="1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</a:rPr>
                        <a:t>Exigibilité</a:t>
                      </a:r>
                      <a:endParaRPr lang="fr-FR" sz="1600" b="1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46747643"/>
                  </a:ext>
                </a:extLst>
              </a:tr>
              <a:tr h="1677158">
                <a:tc>
                  <a:txBody>
                    <a:bodyPr/>
                    <a:lstStyle/>
                    <a:p>
                      <a:pPr marL="36195" marR="36195" algn="just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</a:rPr>
                        <a:t>Livraisons de biens meubles corporels.</a:t>
                      </a:r>
                      <a:endParaRPr lang="fr-FR" sz="16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l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</a:rPr>
                        <a:t>Délivrance (livraison) </a:t>
                      </a:r>
                      <a:br>
                        <a:rPr lang="fr-FR" sz="1600" dirty="0">
                          <a:effectLst/>
                        </a:rPr>
                      </a:br>
                      <a:r>
                        <a:rPr lang="fr-FR" sz="1600" dirty="0">
                          <a:effectLst/>
                        </a:rPr>
                        <a:t>du bien.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just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</a:rPr>
                        <a:t>Délivrance (livraison) du bien.</a:t>
                      </a:r>
                    </a:p>
                    <a:p>
                      <a:pPr algn="just"/>
                      <a:r>
                        <a:rPr lang="fr-FR" sz="1600" dirty="0">
                          <a:effectLst/>
                        </a:rPr>
                        <a:t> </a:t>
                      </a:r>
                    </a:p>
                    <a:p>
                      <a:pPr algn="just"/>
                      <a:r>
                        <a:rPr lang="fr-FR" sz="1600" b="1" dirty="0">
                          <a:effectLst/>
                        </a:rPr>
                        <a:t>Remarque.</a:t>
                      </a:r>
                      <a:r>
                        <a:rPr lang="fr-FR" sz="1600" dirty="0">
                          <a:effectLst/>
                        </a:rPr>
                        <a:t> </a:t>
                      </a:r>
                    </a:p>
                    <a:p>
                      <a:pPr algn="just"/>
                      <a:r>
                        <a:rPr lang="fr-FR" sz="1600" dirty="0">
                          <a:effectLst/>
                        </a:rPr>
                        <a:t>En pratique, c'est la date de facturation qui tient lieu de date de livraison !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09595421"/>
                  </a:ext>
                </a:extLst>
              </a:tr>
              <a:tr h="969821">
                <a:tc>
                  <a:txBody>
                    <a:bodyPr/>
                    <a:lstStyle/>
                    <a:p>
                      <a:pPr marL="36195" marR="36195" algn="just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</a:rPr>
                        <a:t>Prestations de services.</a:t>
                      </a:r>
                      <a:endParaRPr lang="fr-FR" sz="16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just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</a:rPr>
                        <a:t>Exécution des services.</a:t>
                      </a:r>
                      <a:endParaRPr lang="fr-FR" sz="16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marL="36195" marR="36195"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</a:rPr>
                        <a:t>Encaissement du prix, sauf si le fournisseur a choisi l'option pour les débits.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36768864"/>
                  </a:ext>
                </a:extLst>
              </a:tr>
              <a:tr h="935731">
                <a:tc>
                  <a:txBody>
                    <a:bodyPr/>
                    <a:lstStyle/>
                    <a:p>
                      <a:pPr marL="36195" marR="36195" algn="just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</a:rPr>
                        <a:t>Travaux immobiliers.</a:t>
                      </a:r>
                      <a:endParaRPr lang="fr-FR" sz="16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just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</a:rPr>
                        <a:t>Exécution des travaux.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24462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56294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 fontScale="90000"/>
          </a:bodyPr>
          <a:lstStyle/>
          <a:p>
            <a:r>
              <a:rPr lang="fr-FR" dirty="0"/>
              <a:t>Comptabilisation – exemple – entreprise API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1300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8B7C3765-CF61-4673-9715-52D9DB708A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1709514"/>
              </p:ext>
            </p:extLst>
          </p:nvPr>
        </p:nvGraphicFramePr>
        <p:xfrm>
          <a:off x="1182757" y="1850666"/>
          <a:ext cx="10873409" cy="4184374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1807556">
                  <a:extLst>
                    <a:ext uri="{9D8B030D-6E8A-4147-A177-3AD203B41FA5}">
                      <a16:colId xmlns:a16="http://schemas.microsoft.com/office/drawing/2014/main" val="4223350383"/>
                    </a:ext>
                  </a:extLst>
                </a:gridCol>
                <a:gridCol w="1807556">
                  <a:extLst>
                    <a:ext uri="{9D8B030D-6E8A-4147-A177-3AD203B41FA5}">
                      <a16:colId xmlns:a16="http://schemas.microsoft.com/office/drawing/2014/main" val="1558273414"/>
                    </a:ext>
                  </a:extLst>
                </a:gridCol>
                <a:gridCol w="1807556">
                  <a:extLst>
                    <a:ext uri="{9D8B030D-6E8A-4147-A177-3AD203B41FA5}">
                      <a16:colId xmlns:a16="http://schemas.microsoft.com/office/drawing/2014/main" val="2391077036"/>
                    </a:ext>
                  </a:extLst>
                </a:gridCol>
                <a:gridCol w="1807556">
                  <a:extLst>
                    <a:ext uri="{9D8B030D-6E8A-4147-A177-3AD203B41FA5}">
                      <a16:colId xmlns:a16="http://schemas.microsoft.com/office/drawing/2014/main" val="570790042"/>
                    </a:ext>
                  </a:extLst>
                </a:gridCol>
                <a:gridCol w="1317775">
                  <a:extLst>
                    <a:ext uri="{9D8B030D-6E8A-4147-A177-3AD203B41FA5}">
                      <a16:colId xmlns:a16="http://schemas.microsoft.com/office/drawing/2014/main" val="970435890"/>
                    </a:ext>
                  </a:extLst>
                </a:gridCol>
                <a:gridCol w="2325410">
                  <a:extLst>
                    <a:ext uri="{9D8B030D-6E8A-4147-A177-3AD203B41FA5}">
                      <a16:colId xmlns:a16="http://schemas.microsoft.com/office/drawing/2014/main" val="1157005841"/>
                    </a:ext>
                  </a:extLst>
                </a:gridCol>
              </a:tblGrid>
              <a:tr h="646403">
                <a:tc>
                  <a:txBody>
                    <a:bodyPr/>
                    <a:lstStyle/>
                    <a:p>
                      <a:pPr algn="ct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/03/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82649293"/>
                  </a:ext>
                </a:extLst>
              </a:tr>
              <a:tr h="894513"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7</a:t>
                      </a: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hats de marchandises à BETA</a:t>
                      </a: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15 000,00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29078551"/>
                  </a:ext>
                </a:extLst>
              </a:tr>
              <a:tr h="1237470">
                <a:tc>
                  <a:txBody>
                    <a:bodyPr/>
                    <a:lstStyle/>
                    <a:p>
                      <a:pPr algn="ct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44566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T.V.A déductible sur biens et services </a:t>
                      </a:r>
                    </a:p>
                    <a:p>
                      <a:pPr algn="l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(15 000,00 * 0,2)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3 000,00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09595421"/>
                  </a:ext>
                </a:extLst>
              </a:tr>
              <a:tr h="715570"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rs BETA</a:t>
                      </a: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18 000,00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36768864"/>
                  </a:ext>
                </a:extLst>
              </a:tr>
              <a:tr h="690418"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824462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48956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10085791" cy="1188720"/>
          </a:xfrm>
        </p:spPr>
        <p:txBody>
          <a:bodyPr>
            <a:normAutofit fontScale="90000"/>
          </a:bodyPr>
          <a:lstStyle/>
          <a:p>
            <a:r>
              <a:rPr lang="fr-FR" dirty="0"/>
              <a:t>Comptabilisation – exemple – entreprise BETA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1300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8B7C3765-CF61-4673-9715-52D9DB708A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3631613"/>
              </p:ext>
            </p:extLst>
          </p:nvPr>
        </p:nvGraphicFramePr>
        <p:xfrm>
          <a:off x="1182757" y="1850666"/>
          <a:ext cx="10873409" cy="4184374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1807556">
                  <a:extLst>
                    <a:ext uri="{9D8B030D-6E8A-4147-A177-3AD203B41FA5}">
                      <a16:colId xmlns:a16="http://schemas.microsoft.com/office/drawing/2014/main" val="4223350383"/>
                    </a:ext>
                  </a:extLst>
                </a:gridCol>
                <a:gridCol w="1807556">
                  <a:extLst>
                    <a:ext uri="{9D8B030D-6E8A-4147-A177-3AD203B41FA5}">
                      <a16:colId xmlns:a16="http://schemas.microsoft.com/office/drawing/2014/main" val="1558273414"/>
                    </a:ext>
                  </a:extLst>
                </a:gridCol>
                <a:gridCol w="1807556">
                  <a:extLst>
                    <a:ext uri="{9D8B030D-6E8A-4147-A177-3AD203B41FA5}">
                      <a16:colId xmlns:a16="http://schemas.microsoft.com/office/drawing/2014/main" val="2391077036"/>
                    </a:ext>
                  </a:extLst>
                </a:gridCol>
                <a:gridCol w="1807556">
                  <a:extLst>
                    <a:ext uri="{9D8B030D-6E8A-4147-A177-3AD203B41FA5}">
                      <a16:colId xmlns:a16="http://schemas.microsoft.com/office/drawing/2014/main" val="570790042"/>
                    </a:ext>
                  </a:extLst>
                </a:gridCol>
                <a:gridCol w="1317775">
                  <a:extLst>
                    <a:ext uri="{9D8B030D-6E8A-4147-A177-3AD203B41FA5}">
                      <a16:colId xmlns:a16="http://schemas.microsoft.com/office/drawing/2014/main" val="970435890"/>
                    </a:ext>
                  </a:extLst>
                </a:gridCol>
                <a:gridCol w="2325410">
                  <a:extLst>
                    <a:ext uri="{9D8B030D-6E8A-4147-A177-3AD203B41FA5}">
                      <a16:colId xmlns:a16="http://schemas.microsoft.com/office/drawing/2014/main" val="1157005841"/>
                    </a:ext>
                  </a:extLst>
                </a:gridCol>
              </a:tblGrid>
              <a:tr h="646403">
                <a:tc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/03/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82649293"/>
                  </a:ext>
                </a:extLst>
              </a:tr>
              <a:tr h="894513"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411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ient API</a:t>
                      </a: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 000,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29078551"/>
                  </a:ext>
                </a:extLst>
              </a:tr>
              <a:tr h="1237470">
                <a:tc>
                  <a:txBody>
                    <a:bodyPr/>
                    <a:lstStyle/>
                    <a:p>
                      <a:pPr algn="ct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707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Ventes de marchandises à API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15 000,00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09595421"/>
                  </a:ext>
                </a:extLst>
              </a:tr>
              <a:tr h="715570">
                <a:tc>
                  <a:txBody>
                    <a:bodyPr/>
                    <a:lstStyle/>
                    <a:p>
                      <a:pPr algn="ct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71</a:t>
                      </a: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.V.A collectée</a:t>
                      </a: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000,0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36768864"/>
                  </a:ext>
                </a:extLst>
              </a:tr>
              <a:tr h="690418">
                <a:tc>
                  <a:txBody>
                    <a:bodyPr/>
                    <a:lstStyle/>
                    <a:p>
                      <a:pPr algn="ct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80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824462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40665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TVA logique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29384"/>
            <a:ext cx="10515600" cy="463362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3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ns ce cas, la TVA serait exigible à la facturation indépendamment du paiement</a:t>
            </a:r>
          </a:p>
          <a:p>
            <a:pPr algn="just"/>
            <a:endParaRPr lang="fr-FR" sz="1800" b="1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BETA reverse la TVA</a:t>
            </a:r>
          </a:p>
          <a:p>
            <a:pPr algn="just"/>
            <a:r>
              <a:rPr lang="fr-FR" sz="1800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I la récupère</a:t>
            </a:r>
          </a:p>
          <a:p>
            <a:pPr algn="just"/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 chaîne est respecté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15098604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10155460" cy="1188720"/>
          </a:xfrm>
        </p:spPr>
        <p:txBody>
          <a:bodyPr>
            <a:normAutofit fontScale="90000"/>
          </a:bodyPr>
          <a:lstStyle/>
          <a:p>
            <a:r>
              <a:rPr lang="fr-FR" dirty="0"/>
              <a:t>Comptabilisation – exemple – entreprise ATLAS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1300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8B7C3765-CF61-4673-9715-52D9DB708A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811271"/>
              </p:ext>
            </p:extLst>
          </p:nvPr>
        </p:nvGraphicFramePr>
        <p:xfrm>
          <a:off x="1182757" y="1850666"/>
          <a:ext cx="10873409" cy="4184374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1807556">
                  <a:extLst>
                    <a:ext uri="{9D8B030D-6E8A-4147-A177-3AD203B41FA5}">
                      <a16:colId xmlns:a16="http://schemas.microsoft.com/office/drawing/2014/main" val="4223350383"/>
                    </a:ext>
                  </a:extLst>
                </a:gridCol>
                <a:gridCol w="1807556">
                  <a:extLst>
                    <a:ext uri="{9D8B030D-6E8A-4147-A177-3AD203B41FA5}">
                      <a16:colId xmlns:a16="http://schemas.microsoft.com/office/drawing/2014/main" val="1558273414"/>
                    </a:ext>
                  </a:extLst>
                </a:gridCol>
                <a:gridCol w="1807556">
                  <a:extLst>
                    <a:ext uri="{9D8B030D-6E8A-4147-A177-3AD203B41FA5}">
                      <a16:colId xmlns:a16="http://schemas.microsoft.com/office/drawing/2014/main" val="2391077036"/>
                    </a:ext>
                  </a:extLst>
                </a:gridCol>
                <a:gridCol w="1807556">
                  <a:extLst>
                    <a:ext uri="{9D8B030D-6E8A-4147-A177-3AD203B41FA5}">
                      <a16:colId xmlns:a16="http://schemas.microsoft.com/office/drawing/2014/main" val="570790042"/>
                    </a:ext>
                  </a:extLst>
                </a:gridCol>
                <a:gridCol w="1317775">
                  <a:extLst>
                    <a:ext uri="{9D8B030D-6E8A-4147-A177-3AD203B41FA5}">
                      <a16:colId xmlns:a16="http://schemas.microsoft.com/office/drawing/2014/main" val="970435890"/>
                    </a:ext>
                  </a:extLst>
                </a:gridCol>
                <a:gridCol w="2325410">
                  <a:extLst>
                    <a:ext uri="{9D8B030D-6E8A-4147-A177-3AD203B41FA5}">
                      <a16:colId xmlns:a16="http://schemas.microsoft.com/office/drawing/2014/main" val="1157005841"/>
                    </a:ext>
                  </a:extLst>
                </a:gridCol>
              </a:tblGrid>
              <a:tr h="646403">
                <a:tc>
                  <a:txBody>
                    <a:bodyPr/>
                    <a:lstStyle/>
                    <a:p>
                      <a:pPr algn="ct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/03/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82649293"/>
                  </a:ext>
                </a:extLst>
              </a:tr>
              <a:tr h="894513"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132</a:t>
                      </a: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oyers SCI BON</a:t>
                      </a: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5 000,00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29078551"/>
                  </a:ext>
                </a:extLst>
              </a:tr>
              <a:tr h="1237470">
                <a:tc>
                  <a:txBody>
                    <a:bodyPr/>
                    <a:lstStyle/>
                    <a:p>
                      <a:pPr algn="ct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44566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T.V.A déductible sur biens et services </a:t>
                      </a:r>
                    </a:p>
                    <a:p>
                      <a:pPr algn="l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(5 000,00 * 0,2)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1 000,00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09595421"/>
                  </a:ext>
                </a:extLst>
              </a:tr>
              <a:tr h="715570"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rs SCI BON</a:t>
                      </a: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6 000,00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36768864"/>
                  </a:ext>
                </a:extLst>
              </a:tr>
              <a:tr h="690418"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824462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05857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10085791" cy="1188720"/>
          </a:xfrm>
        </p:spPr>
        <p:txBody>
          <a:bodyPr>
            <a:normAutofit fontScale="90000"/>
          </a:bodyPr>
          <a:lstStyle/>
          <a:p>
            <a:r>
              <a:rPr lang="fr-FR" dirty="0"/>
              <a:t>Comptabilisation – exemple – entreprise BON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1300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8B7C3765-CF61-4673-9715-52D9DB708A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2212731"/>
              </p:ext>
            </p:extLst>
          </p:nvPr>
        </p:nvGraphicFramePr>
        <p:xfrm>
          <a:off x="1182757" y="1850666"/>
          <a:ext cx="10873409" cy="4184374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1807556">
                  <a:extLst>
                    <a:ext uri="{9D8B030D-6E8A-4147-A177-3AD203B41FA5}">
                      <a16:colId xmlns:a16="http://schemas.microsoft.com/office/drawing/2014/main" val="4223350383"/>
                    </a:ext>
                  </a:extLst>
                </a:gridCol>
                <a:gridCol w="1807556">
                  <a:extLst>
                    <a:ext uri="{9D8B030D-6E8A-4147-A177-3AD203B41FA5}">
                      <a16:colId xmlns:a16="http://schemas.microsoft.com/office/drawing/2014/main" val="1558273414"/>
                    </a:ext>
                  </a:extLst>
                </a:gridCol>
                <a:gridCol w="1807556">
                  <a:extLst>
                    <a:ext uri="{9D8B030D-6E8A-4147-A177-3AD203B41FA5}">
                      <a16:colId xmlns:a16="http://schemas.microsoft.com/office/drawing/2014/main" val="2391077036"/>
                    </a:ext>
                  </a:extLst>
                </a:gridCol>
                <a:gridCol w="1807556">
                  <a:extLst>
                    <a:ext uri="{9D8B030D-6E8A-4147-A177-3AD203B41FA5}">
                      <a16:colId xmlns:a16="http://schemas.microsoft.com/office/drawing/2014/main" val="570790042"/>
                    </a:ext>
                  </a:extLst>
                </a:gridCol>
                <a:gridCol w="1317775">
                  <a:extLst>
                    <a:ext uri="{9D8B030D-6E8A-4147-A177-3AD203B41FA5}">
                      <a16:colId xmlns:a16="http://schemas.microsoft.com/office/drawing/2014/main" val="970435890"/>
                    </a:ext>
                  </a:extLst>
                </a:gridCol>
                <a:gridCol w="2325410">
                  <a:extLst>
                    <a:ext uri="{9D8B030D-6E8A-4147-A177-3AD203B41FA5}">
                      <a16:colId xmlns:a16="http://schemas.microsoft.com/office/drawing/2014/main" val="1157005841"/>
                    </a:ext>
                  </a:extLst>
                </a:gridCol>
              </a:tblGrid>
              <a:tr h="646403">
                <a:tc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/03/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82649293"/>
                  </a:ext>
                </a:extLst>
              </a:tr>
              <a:tr h="894513"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411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ient ATLAS</a:t>
                      </a: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 000,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29078551"/>
                  </a:ext>
                </a:extLst>
              </a:tr>
              <a:tr h="1237470"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706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Prestations de services à ATLAS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5 000,00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09595421"/>
                  </a:ext>
                </a:extLst>
              </a:tr>
              <a:tr h="715570">
                <a:tc>
                  <a:txBody>
                    <a:bodyPr/>
                    <a:lstStyle/>
                    <a:p>
                      <a:pPr algn="ct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71</a:t>
                      </a: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.V.A collectée</a:t>
                      </a: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000,0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36768864"/>
                  </a:ext>
                </a:extLst>
              </a:tr>
              <a:tr h="690418">
                <a:tc>
                  <a:txBody>
                    <a:bodyPr/>
                    <a:lstStyle/>
                    <a:p>
                      <a:pPr algn="ct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824462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5293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TVA logique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29384"/>
            <a:ext cx="10515600" cy="463362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15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3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ns ce cas, la TVA serait exigible au paiement indépendamment de la quittance</a:t>
            </a:r>
          </a:p>
          <a:p>
            <a:pPr algn="just"/>
            <a:endParaRPr lang="fr-FR" sz="1800" b="1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SCI BON reversera la TVA au rythme des encaissements</a:t>
            </a:r>
          </a:p>
          <a:p>
            <a:pPr algn="just"/>
            <a:r>
              <a:rPr lang="fr-FR" sz="1800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TLAS la récupèrera 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 rythme des paiements</a:t>
            </a:r>
          </a:p>
          <a:p>
            <a:pPr algn="just"/>
            <a:endParaRPr lang="fr-FR" sz="18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1800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 chaîne sera respectée</a:t>
            </a:r>
            <a:endParaRPr lang="fr-FR" sz="1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15246392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C3FB199-37AF-4AEB-91D2-999973453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91889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évisionne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46D878E7-F5C5-452B-937D-8840816B6ECF}"/>
              </a:ext>
            </a:extLst>
          </p:cNvPr>
          <p:cNvSpPr txBox="1"/>
          <p:nvPr/>
        </p:nvSpPr>
        <p:spPr>
          <a:xfrm>
            <a:off x="2843428" y="6003837"/>
            <a:ext cx="6505071" cy="4054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1400" dirty="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90A39BD7-E179-4570-8079-E6A295B492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7501227"/>
              </p:ext>
            </p:extLst>
          </p:nvPr>
        </p:nvGraphicFramePr>
        <p:xfrm>
          <a:off x="121920" y="1193533"/>
          <a:ext cx="11460443" cy="5160900"/>
        </p:xfrm>
        <a:graphic>
          <a:graphicData uri="http://schemas.openxmlformats.org/drawingml/2006/table">
            <a:tbl>
              <a:tblPr firstRow="1" firstCol="1" bandRow="1">
                <a:solidFill>
                  <a:srgbClr val="F2F2F2">
                    <a:alpha val="30196"/>
                  </a:srgbClr>
                </a:solidFill>
              </a:tblPr>
              <a:tblGrid>
                <a:gridCol w="990464">
                  <a:extLst>
                    <a:ext uri="{9D8B030D-6E8A-4147-A177-3AD203B41FA5}">
                      <a16:colId xmlns:a16="http://schemas.microsoft.com/office/drawing/2014/main" val="421084245"/>
                    </a:ext>
                  </a:extLst>
                </a:gridCol>
                <a:gridCol w="10469979">
                  <a:extLst>
                    <a:ext uri="{9D8B030D-6E8A-4147-A177-3AD203B41FA5}">
                      <a16:colId xmlns:a16="http://schemas.microsoft.com/office/drawing/2014/main" val="3974086313"/>
                    </a:ext>
                  </a:extLst>
                </a:gridCol>
              </a:tblGrid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b="0" cap="none" spc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éance</a:t>
                      </a:r>
                      <a:endParaRPr lang="fr-FR" sz="1500" b="0" cap="none" spc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19050" cap="flat" cmpd="sng" algn="ctr">
                      <a:noFill/>
                      <a:prstDash val="soli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b="0" cap="none" spc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Contenu des séances</a:t>
                      </a:r>
                      <a:endParaRPr lang="fr-FR" sz="1500" b="0" cap="none" spc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4008224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-2-3-4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ncepts et principes de base de la comptabilité – Le PCG – Les différentes classes – LAB -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013335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-6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 comptabilisation – Les documents comptables – Les normes internationales =&gt; </a:t>
                      </a:r>
                      <a:r>
                        <a:rPr lang="fr-FR" sz="15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près le bilan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1204828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-8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compte de résultat - Analyse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772546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-10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bilan – Analyse 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616633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1-12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 comptabilisation 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26539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3-14</a:t>
                      </a:r>
                      <a:endParaRPr lang="fr-FR" sz="1500" cap="none" spc="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écritures – La TVA 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858747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5-16</a:t>
                      </a:r>
                      <a:endParaRPr lang="fr-FR" sz="1500" cap="none" spc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ttes à LT et autres dettes - les capitaux propres – Les provisions - Les immobilisations – IFRS 16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4203615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7-18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écritures d’inventaire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09341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9-20</a:t>
                      </a: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’annexe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796521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1-22</a:t>
                      </a: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points particuliers – La TVA – Affectation du résultat</a:t>
                      </a:r>
                    </a:p>
                    <a:p>
                      <a:pPr algn="just">
                        <a:tabLst>
                          <a:tab pos="3978910" algn="l"/>
                        </a:tabLst>
                      </a:pP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48911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914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facture – formalisme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303339"/>
            <a:ext cx="10853928" cy="42863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16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www.service-public.fr/professionnels-entreprises/vosdroits/F31808</a:t>
            </a:r>
            <a:r>
              <a:rPr lang="fr-FR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endParaRPr lang="fr-FR" sz="1500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EF0C9E3E-CA63-4010-B8D8-7587302885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7209823"/>
              </p:ext>
            </p:extLst>
          </p:nvPr>
        </p:nvGraphicFramePr>
        <p:xfrm>
          <a:off x="1341783" y="1787376"/>
          <a:ext cx="8259658" cy="4356120"/>
        </p:xfrm>
        <a:graphic>
          <a:graphicData uri="http://schemas.openxmlformats.org/drawingml/2006/table">
            <a:tbl>
              <a:tblPr/>
              <a:tblGrid>
                <a:gridCol w="4129829">
                  <a:extLst>
                    <a:ext uri="{9D8B030D-6E8A-4147-A177-3AD203B41FA5}">
                      <a16:colId xmlns:a16="http://schemas.microsoft.com/office/drawing/2014/main" val="1564317296"/>
                    </a:ext>
                  </a:extLst>
                </a:gridCol>
                <a:gridCol w="4129829">
                  <a:extLst>
                    <a:ext uri="{9D8B030D-6E8A-4147-A177-3AD203B41FA5}">
                      <a16:colId xmlns:a16="http://schemas.microsoft.com/office/drawing/2014/main" val="4091084456"/>
                    </a:ext>
                  </a:extLst>
                </a:gridCol>
              </a:tblGrid>
              <a:tr h="395576">
                <a:tc>
                  <a:txBody>
                    <a:bodyPr/>
                    <a:lstStyle/>
                    <a:p>
                      <a:pPr fontAlgn="t"/>
                      <a:r>
                        <a:rPr lang="fr-FR" sz="1700">
                          <a:solidFill>
                            <a:srgbClr val="414856"/>
                          </a:solidFill>
                          <a:effectLst/>
                        </a:rPr>
                        <a:t>Date de l'émission de la facture</a:t>
                      </a:r>
                    </a:p>
                  </a:txBody>
                  <a:tcPr marL="70639" marR="70639" marT="70639" marB="70639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700">
                          <a:solidFill>
                            <a:srgbClr val="414856"/>
                          </a:solidFill>
                          <a:effectLst/>
                        </a:rPr>
                        <a:t>Date à laquelle elle est émise.</a:t>
                      </a:r>
                    </a:p>
                  </a:txBody>
                  <a:tcPr marL="70639" marR="70639" marT="70639" marB="70639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6601878"/>
                  </a:ext>
                </a:extLst>
              </a:tr>
              <a:tr h="3955762">
                <a:tc>
                  <a:txBody>
                    <a:bodyPr/>
                    <a:lstStyle/>
                    <a:p>
                      <a:pPr fontAlgn="t"/>
                      <a:r>
                        <a:rPr lang="fr-FR" sz="1700" dirty="0">
                          <a:solidFill>
                            <a:srgbClr val="414856"/>
                          </a:solidFill>
                          <a:effectLst/>
                        </a:rPr>
                        <a:t>Numérotation de la facture</a:t>
                      </a:r>
                    </a:p>
                  </a:txBody>
                  <a:tcPr marL="70639" marR="70639" marT="70639" marB="70639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700" dirty="0">
                          <a:solidFill>
                            <a:srgbClr val="414856"/>
                          </a:solidFill>
                          <a:effectLst/>
                        </a:rPr>
                        <a:t>Numéro unique basé sur une séquence chronologique continue, sans rupture. Exemple : facture 01, 02, 03.</a:t>
                      </a:r>
                    </a:p>
                    <a:p>
                      <a:pPr fontAlgn="t"/>
                      <a:r>
                        <a:rPr lang="fr-FR" sz="1700" dirty="0">
                          <a:solidFill>
                            <a:srgbClr val="414856"/>
                          </a:solidFill>
                          <a:effectLst/>
                        </a:rPr>
                        <a:t>Il est cependant possible d'émettre des séries distinctes lorsque les conditions d'exercice de l'activité le justifient. L'entreprise peut utiliser un préfixe par année (2018-XX) ou par année et mois (2018-01-XX).</a:t>
                      </a:r>
                    </a:p>
                    <a:p>
                      <a:pPr fontAlgn="t"/>
                      <a:r>
                        <a:rPr lang="fr-FR" sz="1700" dirty="0">
                          <a:solidFill>
                            <a:srgbClr val="414856"/>
                          </a:solidFill>
                          <a:effectLst/>
                        </a:rPr>
                        <a:t>Par exemple, si celle-ci termine le mois de janvier avec une facture numérotée 25 :</a:t>
                      </a:r>
                    </a:p>
                    <a:p>
                      <a:pPr fontAlgn="t"/>
                      <a:r>
                        <a:rPr lang="fr-FR" sz="1700" dirty="0">
                          <a:solidFill>
                            <a:srgbClr val="414856"/>
                          </a:solidFill>
                          <a:effectLst/>
                        </a:rPr>
                        <a:t>- Janvier : facture n°2018-01-025</a:t>
                      </a:r>
                    </a:p>
                    <a:p>
                      <a:pPr fontAlgn="t"/>
                      <a:r>
                        <a:rPr lang="fr-FR" sz="1700" dirty="0">
                          <a:solidFill>
                            <a:srgbClr val="414856"/>
                          </a:solidFill>
                          <a:effectLst/>
                        </a:rPr>
                        <a:t>- Février : facture n°2018-02-026</a:t>
                      </a:r>
                    </a:p>
                  </a:txBody>
                  <a:tcPr marL="70639" marR="70639" marT="70639" marB="70639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704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11244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facture – formalisme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303339"/>
            <a:ext cx="10853928" cy="42863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16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www.service-public.fr/professionnels-entreprises/vosdroits/F31808</a:t>
            </a:r>
            <a:r>
              <a:rPr lang="fr-FR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endParaRPr lang="fr-FR" sz="1500" dirty="0"/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36213E86-B02B-4398-B79E-9982F0B089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3961840"/>
              </p:ext>
            </p:extLst>
          </p:nvPr>
        </p:nvGraphicFramePr>
        <p:xfrm>
          <a:off x="983974" y="2055813"/>
          <a:ext cx="10624930" cy="4084922"/>
        </p:xfrm>
        <a:graphic>
          <a:graphicData uri="http://schemas.openxmlformats.org/drawingml/2006/table">
            <a:tbl>
              <a:tblPr/>
              <a:tblGrid>
                <a:gridCol w="5312465">
                  <a:extLst>
                    <a:ext uri="{9D8B030D-6E8A-4147-A177-3AD203B41FA5}">
                      <a16:colId xmlns:a16="http://schemas.microsoft.com/office/drawing/2014/main" val="1424008422"/>
                    </a:ext>
                  </a:extLst>
                </a:gridCol>
                <a:gridCol w="5312465">
                  <a:extLst>
                    <a:ext uri="{9D8B030D-6E8A-4147-A177-3AD203B41FA5}">
                      <a16:colId xmlns:a16="http://schemas.microsoft.com/office/drawing/2014/main" val="1249192825"/>
                    </a:ext>
                  </a:extLst>
                </a:gridCol>
              </a:tblGrid>
              <a:tr h="1032453">
                <a:tc>
                  <a:txBody>
                    <a:bodyPr/>
                    <a:lstStyle/>
                    <a:p>
                      <a:pPr fontAlgn="t"/>
                      <a:r>
                        <a:rPr lang="fr-FR">
                          <a:solidFill>
                            <a:srgbClr val="414856"/>
                          </a:solidFill>
                          <a:effectLst/>
                        </a:rPr>
                        <a:t>Date de la vente ou de la prestation de service</a:t>
                      </a:r>
                    </a:p>
                  </a:txBody>
                  <a:tcPr marL="76200" marR="76200" marT="76200" marB="7620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>
                          <a:solidFill>
                            <a:srgbClr val="414856"/>
                          </a:solidFill>
                          <a:effectLst/>
                        </a:rPr>
                        <a:t>Jour effectif de la livraison ou de la fin d'exécution de la prestation</a:t>
                      </a:r>
                    </a:p>
                  </a:txBody>
                  <a:tcPr marL="76200" marR="76200" marT="76200" marB="76200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709311"/>
                  </a:ext>
                </a:extLst>
              </a:tr>
              <a:tr h="3052469">
                <a:tc>
                  <a:txBody>
                    <a:bodyPr/>
                    <a:lstStyle/>
                    <a:p>
                      <a:pPr fontAlgn="t"/>
                      <a:r>
                        <a:rPr lang="fr-FR">
                          <a:solidFill>
                            <a:srgbClr val="414856"/>
                          </a:solidFill>
                          <a:effectLst/>
                        </a:rPr>
                        <a:t>Identité de l'acheteur</a:t>
                      </a:r>
                    </a:p>
                  </a:txBody>
                  <a:tcPr marL="76200" marR="76200" marT="76200" marB="7620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dirty="0">
                          <a:solidFill>
                            <a:srgbClr val="414856"/>
                          </a:solidFill>
                          <a:effectLst/>
                        </a:rPr>
                        <a:t>- Nom (ou dénomination sociale)</a:t>
                      </a:r>
                    </a:p>
                    <a:p>
                      <a:pPr fontAlgn="t"/>
                      <a:r>
                        <a:rPr lang="fr-FR" dirty="0">
                          <a:solidFill>
                            <a:srgbClr val="414856"/>
                          </a:solidFill>
                          <a:effectLst/>
                        </a:rPr>
                        <a:t>- Adresse du siège social d'une entreprise ou du domicile d'un particulier (sauf opposition de sa part, pour un particulier)</a:t>
                      </a:r>
                    </a:p>
                    <a:p>
                      <a:pPr fontAlgn="t"/>
                      <a:r>
                        <a:rPr lang="fr-FR" dirty="0">
                          <a:solidFill>
                            <a:srgbClr val="414856"/>
                          </a:solidFill>
                          <a:effectLst/>
                        </a:rPr>
                        <a:t>- Adresse de facturation (si différente du siège social)</a:t>
                      </a:r>
                    </a:p>
                  </a:txBody>
                  <a:tcPr marL="76200" marR="76200" marT="76200" marB="76200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05673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7316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facture – formalisme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382333"/>
            <a:ext cx="10853928" cy="42863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16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www.service-public.fr/professionnels-entreprises/vosdroits/F31808</a:t>
            </a:r>
            <a:r>
              <a:rPr lang="fr-FR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endParaRPr lang="fr-FR" sz="1500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C17C8142-82CE-49F7-8FAD-961B88248B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5531625"/>
              </p:ext>
            </p:extLst>
          </p:nvPr>
        </p:nvGraphicFramePr>
        <p:xfrm>
          <a:off x="669036" y="1715739"/>
          <a:ext cx="11238042" cy="4666594"/>
        </p:xfrm>
        <a:graphic>
          <a:graphicData uri="http://schemas.openxmlformats.org/drawingml/2006/table">
            <a:tbl>
              <a:tblPr/>
              <a:tblGrid>
                <a:gridCol w="3724060">
                  <a:extLst>
                    <a:ext uri="{9D8B030D-6E8A-4147-A177-3AD203B41FA5}">
                      <a16:colId xmlns:a16="http://schemas.microsoft.com/office/drawing/2014/main" val="273096018"/>
                    </a:ext>
                  </a:extLst>
                </a:gridCol>
                <a:gridCol w="7513982">
                  <a:extLst>
                    <a:ext uri="{9D8B030D-6E8A-4147-A177-3AD203B41FA5}">
                      <a16:colId xmlns:a16="http://schemas.microsoft.com/office/drawing/2014/main" val="3591973276"/>
                    </a:ext>
                  </a:extLst>
                </a:gridCol>
              </a:tblGrid>
              <a:tr h="4472741">
                <a:tc>
                  <a:txBody>
                    <a:bodyPr/>
                    <a:lstStyle/>
                    <a:p>
                      <a:pPr fontAlgn="t"/>
                      <a:r>
                        <a:rPr lang="fr-FR" sz="1800" dirty="0">
                          <a:solidFill>
                            <a:srgbClr val="414856"/>
                          </a:solidFill>
                          <a:effectLst/>
                        </a:rPr>
                        <a:t>Identité du vendeur ou prestataire</a:t>
                      </a:r>
                    </a:p>
                  </a:txBody>
                  <a:tcPr marL="47297" marR="47297" marT="47297" marB="47297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2000" dirty="0">
                          <a:solidFill>
                            <a:srgbClr val="414856"/>
                          </a:solidFill>
                          <a:effectLst/>
                        </a:rPr>
                        <a:t>- Nom et prénom d'un entrepreneur individuel (suivi éventuellement de son nom commercial)</a:t>
                      </a:r>
                    </a:p>
                    <a:p>
                      <a:pPr fontAlgn="t"/>
                      <a:r>
                        <a:rPr lang="fr-FR" sz="2000" dirty="0">
                          <a:solidFill>
                            <a:srgbClr val="414856"/>
                          </a:solidFill>
                          <a:effectLst/>
                        </a:rPr>
                        <a:t>- Dénomination sociale d'une société suivie du numéro </a:t>
                      </a:r>
                      <a:r>
                        <a:rPr lang="fr-FR" sz="2000" dirty="0" err="1">
                          <a:solidFill>
                            <a:srgbClr val="414856"/>
                          </a:solidFill>
                          <a:effectLst/>
                        </a:rPr>
                        <a:t>Siren</a:t>
                      </a:r>
                      <a:r>
                        <a:rPr lang="fr-FR" sz="2000" dirty="0">
                          <a:solidFill>
                            <a:srgbClr val="414856"/>
                          </a:solidFill>
                          <a:effectLst/>
                        </a:rPr>
                        <a:t> ou Siret (sauf pour les personnes physiques)</a:t>
                      </a:r>
                    </a:p>
                    <a:p>
                      <a:pPr fontAlgn="t"/>
                      <a:r>
                        <a:rPr lang="fr-FR" sz="2000" dirty="0">
                          <a:solidFill>
                            <a:srgbClr val="414856"/>
                          </a:solidFill>
                          <a:effectLst/>
                        </a:rPr>
                        <a:t>- Numéro RCS pour un commerçant, suivi du nom de la ville où se trouve le greffe d'immatriculation</a:t>
                      </a:r>
                    </a:p>
                    <a:p>
                      <a:pPr fontAlgn="t"/>
                      <a:r>
                        <a:rPr lang="fr-FR" sz="2000" dirty="0">
                          <a:solidFill>
                            <a:srgbClr val="414856"/>
                          </a:solidFill>
                          <a:effectLst/>
                        </a:rPr>
                        <a:t>- Numéro au Répertoire des métiers pour un artisan (n° </a:t>
                      </a:r>
                      <a:r>
                        <a:rPr lang="fr-FR" sz="2000" dirty="0" err="1">
                          <a:solidFill>
                            <a:srgbClr val="414856"/>
                          </a:solidFill>
                          <a:effectLst/>
                        </a:rPr>
                        <a:t>Siren</a:t>
                      </a:r>
                      <a:r>
                        <a:rPr lang="fr-FR" sz="2000" dirty="0">
                          <a:solidFill>
                            <a:srgbClr val="414856"/>
                          </a:solidFill>
                          <a:effectLst/>
                        </a:rPr>
                        <a:t> + RM + n° du département d'immatriculation)</a:t>
                      </a:r>
                    </a:p>
                    <a:p>
                      <a:pPr fontAlgn="t"/>
                      <a:r>
                        <a:rPr lang="fr-FR" sz="2000" dirty="0">
                          <a:solidFill>
                            <a:srgbClr val="414856"/>
                          </a:solidFill>
                          <a:effectLst/>
                        </a:rPr>
                        <a:t>- Adresse du siège social (et nom de l'établissement)</a:t>
                      </a:r>
                    </a:p>
                    <a:p>
                      <a:pPr fontAlgn="t"/>
                      <a:r>
                        <a:rPr lang="fr-FR" sz="2000" dirty="0">
                          <a:solidFill>
                            <a:srgbClr val="414856"/>
                          </a:solidFill>
                          <a:effectLst/>
                        </a:rPr>
                        <a:t>- Si l'entreprise est une société, mention de la forme juridique (EURL, SARL, SA, SNC, SAS) et du montant du capital social</a:t>
                      </a:r>
                    </a:p>
                    <a:p>
                      <a:pPr fontAlgn="t"/>
                      <a:r>
                        <a:rPr lang="fr-FR" sz="2000" b="1" dirty="0">
                          <a:solidFill>
                            <a:srgbClr val="414856"/>
                          </a:solidFill>
                          <a:effectLst/>
                          <a:latin typeface="roboto_bold"/>
                        </a:rPr>
                        <a:t>Attention :</a:t>
                      </a:r>
                      <a:r>
                        <a:rPr lang="fr-FR" sz="2000" dirty="0">
                          <a:solidFill>
                            <a:srgbClr val="414856"/>
                          </a:solidFill>
                          <a:effectLst/>
                        </a:rPr>
                        <a:t> si l'entreprise est en cours d'immatriculation, la facture doit être établie au nom de la société, avec la mention « </a:t>
                      </a:r>
                      <a:r>
                        <a:rPr lang="fr-FR" sz="2000" i="1" dirty="0">
                          <a:solidFill>
                            <a:srgbClr val="414856"/>
                          </a:solidFill>
                          <a:effectLst/>
                        </a:rPr>
                        <a:t>Siret en cours d'attribution</a:t>
                      </a:r>
                      <a:r>
                        <a:rPr lang="fr-FR" sz="2000" dirty="0">
                          <a:solidFill>
                            <a:srgbClr val="414856"/>
                          </a:solidFill>
                          <a:effectLst/>
                        </a:rPr>
                        <a:t> », et non au nom du créateur, sous peine de rejet de la déduction de la TVA.</a:t>
                      </a:r>
                    </a:p>
                  </a:txBody>
                  <a:tcPr marL="47297" marR="47297" marT="47297" marB="47297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57020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45981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facture – formalisme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303339"/>
            <a:ext cx="10853928" cy="42863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16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www.service-public.fr/professionnels-entreprises/vosdroits/F31808</a:t>
            </a:r>
            <a:r>
              <a:rPr lang="fr-FR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endParaRPr lang="fr-FR" sz="1500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31341E29-4EF9-4CD4-A113-CE1BC1408E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954419"/>
              </p:ext>
            </p:extLst>
          </p:nvPr>
        </p:nvGraphicFramePr>
        <p:xfrm>
          <a:off x="669035" y="1785250"/>
          <a:ext cx="10949808" cy="4376572"/>
        </p:xfrm>
        <a:graphic>
          <a:graphicData uri="http://schemas.openxmlformats.org/drawingml/2006/table">
            <a:tbl>
              <a:tblPr/>
              <a:tblGrid>
                <a:gridCol w="5474904">
                  <a:extLst>
                    <a:ext uri="{9D8B030D-6E8A-4147-A177-3AD203B41FA5}">
                      <a16:colId xmlns:a16="http://schemas.microsoft.com/office/drawing/2014/main" val="1519372775"/>
                    </a:ext>
                  </a:extLst>
                </a:gridCol>
                <a:gridCol w="5474904">
                  <a:extLst>
                    <a:ext uri="{9D8B030D-6E8A-4147-A177-3AD203B41FA5}">
                      <a16:colId xmlns:a16="http://schemas.microsoft.com/office/drawing/2014/main" val="2307211321"/>
                    </a:ext>
                  </a:extLst>
                </a:gridCol>
              </a:tblGrid>
              <a:tr h="610249">
                <a:tc>
                  <a:txBody>
                    <a:bodyPr/>
                    <a:lstStyle/>
                    <a:p>
                      <a:pPr fontAlgn="t"/>
                      <a:r>
                        <a:rPr lang="fr-FR" sz="2000">
                          <a:solidFill>
                            <a:srgbClr val="414856"/>
                          </a:solidFill>
                          <a:effectLst/>
                        </a:rPr>
                        <a:t>Numéro du bon de commande</a:t>
                      </a:r>
                    </a:p>
                  </a:txBody>
                  <a:tcPr marL="66331" marR="66331" marT="66331" marB="66331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2000">
                          <a:solidFill>
                            <a:srgbClr val="414856"/>
                          </a:solidFill>
                          <a:effectLst/>
                        </a:rPr>
                        <a:t>Lorsqu'il a été préalablement établi par l'acheteur</a:t>
                      </a:r>
                    </a:p>
                  </a:txBody>
                  <a:tcPr marL="66331" marR="66331" marT="66331" marB="66331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230408"/>
                  </a:ext>
                </a:extLst>
              </a:tr>
              <a:tr h="1326627">
                <a:tc>
                  <a:txBody>
                    <a:bodyPr/>
                    <a:lstStyle/>
                    <a:p>
                      <a:pPr fontAlgn="t"/>
                      <a:r>
                        <a:rPr lang="fr-FR" sz="2000" u="sng">
                          <a:solidFill>
                            <a:srgbClr val="414856"/>
                          </a:solidFill>
                          <a:effectLst/>
                          <a:hlinkClick r:id="rId3"/>
                        </a:rPr>
                        <a:t>Numéro individuel d'identification à la TVA</a:t>
                      </a:r>
                      <a:r>
                        <a:rPr lang="fr-FR" sz="2000">
                          <a:solidFill>
                            <a:srgbClr val="414856"/>
                          </a:solidFill>
                          <a:effectLst/>
                        </a:rPr>
                        <a:t> du vendeur et du client professionnel, seulement si ce dernier est redevable de la TVA (auto-liquidation)</a:t>
                      </a:r>
                    </a:p>
                  </a:txBody>
                  <a:tcPr marL="66331" marR="66331" marT="66331" marB="66331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2000">
                          <a:solidFill>
                            <a:srgbClr val="414856"/>
                          </a:solidFill>
                          <a:effectLst/>
                        </a:rPr>
                        <a:t>Sauf pour les factures d'un montant total HT inférieur ou égal à </a:t>
                      </a:r>
                      <a:r>
                        <a:rPr lang="fr-FR" sz="2000">
                          <a:solidFill>
                            <a:srgbClr val="414856"/>
                          </a:solidFill>
                          <a:effectLst/>
                          <a:latin typeface="roboto_bold"/>
                        </a:rPr>
                        <a:t>150 €</a:t>
                      </a:r>
                      <a:endParaRPr lang="fr-FR" sz="2000">
                        <a:solidFill>
                          <a:srgbClr val="414856"/>
                        </a:solidFill>
                        <a:effectLst/>
                      </a:endParaRPr>
                    </a:p>
                  </a:txBody>
                  <a:tcPr marL="66331" marR="66331" marT="66331" marB="66331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297064"/>
                  </a:ext>
                </a:extLst>
              </a:tr>
              <a:tr h="1087834">
                <a:tc>
                  <a:txBody>
                    <a:bodyPr/>
                    <a:lstStyle/>
                    <a:p>
                      <a:pPr fontAlgn="t"/>
                      <a:r>
                        <a:rPr lang="fr-FR" sz="2000">
                          <a:solidFill>
                            <a:srgbClr val="414856"/>
                          </a:solidFill>
                          <a:effectLst/>
                        </a:rPr>
                        <a:t>Désignation du produit ou de la prestation</a:t>
                      </a:r>
                    </a:p>
                  </a:txBody>
                  <a:tcPr marL="66331" marR="66331" marT="66331" marB="66331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2000">
                          <a:solidFill>
                            <a:srgbClr val="414856"/>
                          </a:solidFill>
                          <a:effectLst/>
                        </a:rPr>
                        <a:t>- Nature, marque, référence des produits</a:t>
                      </a:r>
                    </a:p>
                    <a:p>
                      <a:pPr fontAlgn="t"/>
                      <a:r>
                        <a:rPr lang="fr-FR" sz="2000">
                          <a:solidFill>
                            <a:srgbClr val="414856"/>
                          </a:solidFill>
                          <a:effectLst/>
                        </a:rPr>
                        <a:t>- Prestation : matériaux fournis et la main-d'œuvre</a:t>
                      </a:r>
                    </a:p>
                  </a:txBody>
                  <a:tcPr marL="66331" marR="66331" marT="66331" marB="66331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135307"/>
                  </a:ext>
                </a:extLst>
              </a:tr>
              <a:tr h="1326627">
                <a:tc>
                  <a:txBody>
                    <a:bodyPr/>
                    <a:lstStyle/>
                    <a:p>
                      <a:pPr fontAlgn="t"/>
                      <a:r>
                        <a:rPr lang="fr-FR" sz="2000">
                          <a:solidFill>
                            <a:srgbClr val="414856"/>
                          </a:solidFill>
                          <a:effectLst/>
                        </a:rPr>
                        <a:t>Décompte détaillé de chaque prestation et produit fourni</a:t>
                      </a:r>
                    </a:p>
                  </a:txBody>
                  <a:tcPr marL="66331" marR="66331" marT="66331" marB="66331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2000" dirty="0">
                          <a:solidFill>
                            <a:srgbClr val="414856"/>
                          </a:solidFill>
                          <a:effectLst/>
                        </a:rPr>
                        <a:t>Détail en quantité et prix (facultatif si la prestation de service a fait l'objet d'un devis préalable, descriptif et détaillé, accepté par le client et conforme à la prestation exécutée)</a:t>
                      </a:r>
                    </a:p>
                  </a:txBody>
                  <a:tcPr marL="66331" marR="66331" marT="66331" marB="66331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65663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52447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facture – formalisme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303339"/>
            <a:ext cx="10853928" cy="42863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16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www.service-public.fr/professionnels-entreprises/vosdroits/F31808</a:t>
            </a:r>
            <a:r>
              <a:rPr lang="fr-FR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endParaRPr lang="fr-FR" sz="1500" dirty="0"/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5AA6B966-6CC4-4B87-97D1-3182CC9691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4141529"/>
              </p:ext>
            </p:extLst>
          </p:nvPr>
        </p:nvGraphicFramePr>
        <p:xfrm>
          <a:off x="755374" y="1783018"/>
          <a:ext cx="10853928" cy="4351338"/>
        </p:xfrm>
        <a:graphic>
          <a:graphicData uri="http://schemas.openxmlformats.org/drawingml/2006/table">
            <a:tbl>
              <a:tblPr/>
              <a:tblGrid>
                <a:gridCol w="5426964">
                  <a:extLst>
                    <a:ext uri="{9D8B030D-6E8A-4147-A177-3AD203B41FA5}">
                      <a16:colId xmlns:a16="http://schemas.microsoft.com/office/drawing/2014/main" val="6567201"/>
                    </a:ext>
                  </a:extLst>
                </a:gridCol>
                <a:gridCol w="5426964">
                  <a:extLst>
                    <a:ext uri="{9D8B030D-6E8A-4147-A177-3AD203B41FA5}">
                      <a16:colId xmlns:a16="http://schemas.microsoft.com/office/drawing/2014/main" val="2305888600"/>
                    </a:ext>
                  </a:extLst>
                </a:gridCol>
              </a:tblGrid>
              <a:tr h="953718">
                <a:tc>
                  <a:txBody>
                    <a:bodyPr/>
                    <a:lstStyle/>
                    <a:p>
                      <a:pPr fontAlgn="t"/>
                      <a:r>
                        <a:rPr lang="fr-FR" sz="1800">
                          <a:solidFill>
                            <a:srgbClr val="414856"/>
                          </a:solidFill>
                          <a:effectLst/>
                        </a:rPr>
                        <a:t>Prix catalogue</a:t>
                      </a:r>
                    </a:p>
                  </a:txBody>
                  <a:tcPr marL="74509" marR="74509" marT="74509" marB="74509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800">
                          <a:solidFill>
                            <a:srgbClr val="414856"/>
                          </a:solidFill>
                          <a:effectLst/>
                        </a:rPr>
                        <a:t>Prix unitaire hors TVA des produits vendus ou taux horaire hors TVA des services fournis</a:t>
                      </a:r>
                    </a:p>
                  </a:txBody>
                  <a:tcPr marL="74509" marR="74509" marT="74509" marB="74509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5856315"/>
                  </a:ext>
                </a:extLst>
              </a:tr>
              <a:tr h="685485">
                <a:tc>
                  <a:txBody>
                    <a:bodyPr/>
                    <a:lstStyle/>
                    <a:p>
                      <a:pPr fontAlgn="t"/>
                      <a:r>
                        <a:rPr lang="fr-FR" sz="1800">
                          <a:solidFill>
                            <a:srgbClr val="414856"/>
                          </a:solidFill>
                          <a:effectLst/>
                        </a:rPr>
                        <a:t>Majoration éventuelle de prix</a:t>
                      </a:r>
                    </a:p>
                  </a:txBody>
                  <a:tcPr marL="74509" marR="74509" marT="74509" marB="74509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800">
                          <a:solidFill>
                            <a:srgbClr val="414856"/>
                          </a:solidFill>
                          <a:effectLst/>
                        </a:rPr>
                        <a:t>Frais de transport ou d'emballage par exemple</a:t>
                      </a:r>
                    </a:p>
                  </a:txBody>
                  <a:tcPr marL="74509" marR="74509" marT="74509" marB="74509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1758093"/>
                  </a:ext>
                </a:extLst>
              </a:tr>
              <a:tr h="1221951">
                <a:tc>
                  <a:txBody>
                    <a:bodyPr/>
                    <a:lstStyle/>
                    <a:p>
                      <a:pPr fontAlgn="t"/>
                      <a:r>
                        <a:rPr lang="fr-FR" sz="1800" u="sng">
                          <a:solidFill>
                            <a:srgbClr val="414856"/>
                          </a:solidFill>
                          <a:effectLst/>
                          <a:hlinkClick r:id="rId3"/>
                        </a:rPr>
                        <a:t>Taux de TVA</a:t>
                      </a:r>
                      <a:r>
                        <a:rPr lang="fr-FR" sz="1800">
                          <a:solidFill>
                            <a:srgbClr val="414856"/>
                          </a:solidFill>
                          <a:effectLst/>
                        </a:rPr>
                        <a:t> légalement applicable</a:t>
                      </a:r>
                    </a:p>
                    <a:p>
                      <a:pPr fontAlgn="t"/>
                      <a:r>
                        <a:rPr lang="fr-FR" sz="1800">
                          <a:solidFill>
                            <a:srgbClr val="414856"/>
                          </a:solidFill>
                          <a:effectLst/>
                        </a:rPr>
                        <a:t>Montant total de la TVA correspondant</a:t>
                      </a:r>
                    </a:p>
                  </a:txBody>
                  <a:tcPr marL="74509" marR="74509" marT="74509" marB="74509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800">
                          <a:solidFill>
                            <a:srgbClr val="414856"/>
                          </a:solidFill>
                          <a:effectLst/>
                        </a:rPr>
                        <a:t>Si les opérations sont soumises à des taux de TVA différents, il faut faire figurer sur chaque ligne le taux correspondant</a:t>
                      </a:r>
                    </a:p>
                  </a:txBody>
                  <a:tcPr marL="74509" marR="74509" marT="74509" marB="74509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7267976"/>
                  </a:ext>
                </a:extLst>
              </a:tr>
              <a:tr h="1490184">
                <a:tc>
                  <a:txBody>
                    <a:bodyPr/>
                    <a:lstStyle/>
                    <a:p>
                      <a:pPr fontAlgn="t"/>
                      <a:r>
                        <a:rPr lang="fr-FR" sz="1800">
                          <a:solidFill>
                            <a:srgbClr val="414856"/>
                          </a:solidFill>
                          <a:effectLst/>
                        </a:rPr>
                        <a:t>Réduction de prix</a:t>
                      </a:r>
                    </a:p>
                  </a:txBody>
                  <a:tcPr marL="74509" marR="74509" marT="74509" marB="74509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800" dirty="0">
                          <a:solidFill>
                            <a:srgbClr val="414856"/>
                          </a:solidFill>
                          <a:effectLst/>
                        </a:rPr>
                        <a:t>Rabais, ristourne, ou remise acquise à la date de la vente ou de la prestation de service et directement liée à cette opération, à l'exclusion des escomptes non prévus sur la facture</a:t>
                      </a:r>
                    </a:p>
                  </a:txBody>
                  <a:tcPr marL="74509" marR="74509" marT="74509" marB="74509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07790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667758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facture – formalisme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303339"/>
            <a:ext cx="10853928" cy="42863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16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www.service-public.fr/professionnels-entreprises/vosdroits/F31808</a:t>
            </a:r>
            <a:r>
              <a:rPr lang="fr-FR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endParaRPr lang="fr-FR" sz="1500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BBE1DF13-B039-454A-A3E6-FCBDA8CCCC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8487844"/>
              </p:ext>
            </p:extLst>
          </p:nvPr>
        </p:nvGraphicFramePr>
        <p:xfrm>
          <a:off x="467138" y="1777462"/>
          <a:ext cx="11055826" cy="4364181"/>
        </p:xfrm>
        <a:graphic>
          <a:graphicData uri="http://schemas.openxmlformats.org/drawingml/2006/table">
            <a:tbl>
              <a:tblPr/>
              <a:tblGrid>
                <a:gridCol w="5527913">
                  <a:extLst>
                    <a:ext uri="{9D8B030D-6E8A-4147-A177-3AD203B41FA5}">
                      <a16:colId xmlns:a16="http://schemas.microsoft.com/office/drawing/2014/main" val="1117223580"/>
                    </a:ext>
                  </a:extLst>
                </a:gridCol>
                <a:gridCol w="5527913">
                  <a:extLst>
                    <a:ext uri="{9D8B030D-6E8A-4147-A177-3AD203B41FA5}">
                      <a16:colId xmlns:a16="http://schemas.microsoft.com/office/drawing/2014/main" val="1777626974"/>
                    </a:ext>
                  </a:extLst>
                </a:gridCol>
              </a:tblGrid>
              <a:tr h="645682">
                <a:tc>
                  <a:txBody>
                    <a:bodyPr/>
                    <a:lstStyle/>
                    <a:p>
                      <a:pPr fontAlgn="t"/>
                      <a:r>
                        <a:rPr lang="fr-FR" sz="1700">
                          <a:solidFill>
                            <a:srgbClr val="414856"/>
                          </a:solidFill>
                          <a:effectLst/>
                        </a:rPr>
                        <a:t>omme totale à payer hors taxe (HT) et toutes taxes comprises (TTC)</a:t>
                      </a:r>
                    </a:p>
                  </a:txBody>
                  <a:tcPr marL="70183" marR="70183" marT="70183" marB="701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fr-FR" sz="1700">
                        <a:solidFill>
                          <a:srgbClr val="414856"/>
                        </a:solidFill>
                        <a:effectLst/>
                      </a:endParaRPr>
                    </a:p>
                  </a:txBody>
                  <a:tcPr marL="70183" marR="70183" marT="70183" marB="70183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4283419"/>
                  </a:ext>
                </a:extLst>
              </a:tr>
              <a:tr h="1908974">
                <a:tc>
                  <a:txBody>
                    <a:bodyPr/>
                    <a:lstStyle/>
                    <a:p>
                      <a:pPr fontAlgn="t"/>
                      <a:r>
                        <a:rPr lang="fr-FR" sz="1700" u="sng">
                          <a:solidFill>
                            <a:srgbClr val="414856"/>
                          </a:solidFill>
                          <a:effectLst/>
                          <a:hlinkClick r:id="rId3"/>
                        </a:rPr>
                        <a:t>Date ou délai de paiement</a:t>
                      </a:r>
                      <a:endParaRPr lang="fr-FR" sz="1700">
                        <a:solidFill>
                          <a:srgbClr val="414856"/>
                        </a:solidFill>
                        <a:effectLst/>
                      </a:endParaRPr>
                    </a:p>
                  </a:txBody>
                  <a:tcPr marL="70183" marR="70183" marT="70183" marB="701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700">
                          <a:solidFill>
                            <a:srgbClr val="414856"/>
                          </a:solidFill>
                          <a:effectLst/>
                        </a:rPr>
                        <a:t>- Date à laquelle le règlement doit intervenir</a:t>
                      </a:r>
                    </a:p>
                    <a:p>
                      <a:pPr fontAlgn="t"/>
                      <a:r>
                        <a:rPr lang="fr-FR" sz="1700">
                          <a:solidFill>
                            <a:srgbClr val="414856"/>
                          </a:solidFill>
                          <a:effectLst/>
                        </a:rPr>
                        <a:t>- Conditions d'escompte en cas de paiement anticipé</a:t>
                      </a:r>
                    </a:p>
                    <a:p>
                      <a:pPr fontAlgn="t"/>
                      <a:r>
                        <a:rPr lang="fr-FR" sz="1700">
                          <a:solidFill>
                            <a:srgbClr val="414856"/>
                          </a:solidFill>
                          <a:effectLst/>
                        </a:rPr>
                        <a:t>- En cas d'absence d'escompte, mentionner sur la facture : </a:t>
                      </a:r>
                      <a:r>
                        <a:rPr lang="fr-FR" sz="1700" i="1">
                          <a:solidFill>
                            <a:srgbClr val="414856"/>
                          </a:solidFill>
                          <a:effectLst/>
                        </a:rPr>
                        <a:t>Escompte pour paiement anticipé : néant</a:t>
                      </a:r>
                      <a:endParaRPr lang="fr-FR" sz="1700">
                        <a:solidFill>
                          <a:srgbClr val="414856"/>
                        </a:solidFill>
                        <a:effectLst/>
                      </a:endParaRPr>
                    </a:p>
                  </a:txBody>
                  <a:tcPr marL="70183" marR="70183" marT="70183" marB="70183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5228200"/>
                  </a:ext>
                </a:extLst>
              </a:tr>
              <a:tr h="1150999">
                <a:tc>
                  <a:txBody>
                    <a:bodyPr/>
                    <a:lstStyle/>
                    <a:p>
                      <a:pPr fontAlgn="t"/>
                      <a:r>
                        <a:rPr lang="fr-FR" sz="1700" u="sng">
                          <a:solidFill>
                            <a:srgbClr val="414856"/>
                          </a:solidFill>
                          <a:effectLst/>
                          <a:hlinkClick r:id="rId3"/>
                        </a:rPr>
                        <a:t>Taux des pénalités de retard</a:t>
                      </a:r>
                      <a:endParaRPr lang="fr-FR" sz="1700">
                        <a:solidFill>
                          <a:srgbClr val="414856"/>
                        </a:solidFill>
                        <a:effectLst/>
                      </a:endParaRPr>
                    </a:p>
                  </a:txBody>
                  <a:tcPr marL="70183" marR="70183" marT="70183" marB="701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700">
                          <a:solidFill>
                            <a:srgbClr val="414856"/>
                          </a:solidFill>
                          <a:effectLst/>
                        </a:rPr>
                        <a:t>Exigibles en cas de non-paiement à la date de règlement (les pénalités de retard sont exigibles sans qu'un rappel soit nécessaire)</a:t>
                      </a:r>
                    </a:p>
                  </a:txBody>
                  <a:tcPr marL="70183" marR="70183" marT="70183" marB="70183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5648548"/>
                  </a:ext>
                </a:extLst>
              </a:tr>
              <a:tr h="645682">
                <a:tc>
                  <a:txBody>
                    <a:bodyPr/>
                    <a:lstStyle/>
                    <a:p>
                      <a:pPr fontAlgn="t"/>
                      <a:r>
                        <a:rPr lang="fr-FR" sz="1700">
                          <a:solidFill>
                            <a:srgbClr val="414856"/>
                          </a:solidFill>
                          <a:effectLst/>
                        </a:rPr>
                        <a:t>Mention de l'indemnité forfaitaire de </a:t>
                      </a:r>
                      <a:r>
                        <a:rPr lang="fr-FR" sz="1700">
                          <a:solidFill>
                            <a:srgbClr val="414856"/>
                          </a:solidFill>
                          <a:effectLst/>
                          <a:latin typeface="roboto_bold"/>
                        </a:rPr>
                        <a:t>40 €</a:t>
                      </a:r>
                      <a:endParaRPr lang="fr-FR" sz="1700">
                        <a:solidFill>
                          <a:srgbClr val="414856"/>
                        </a:solidFill>
                        <a:effectLst/>
                      </a:endParaRPr>
                    </a:p>
                  </a:txBody>
                  <a:tcPr marL="70183" marR="70183" marT="70183" marB="701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sz="1700" dirty="0">
                          <a:solidFill>
                            <a:srgbClr val="414856"/>
                          </a:solidFill>
                          <a:effectLst/>
                        </a:rPr>
                        <a:t>Pour frais de recouvrement, en cas de retard de paiement</a:t>
                      </a:r>
                    </a:p>
                  </a:txBody>
                  <a:tcPr marL="70183" marR="70183" marT="70183" marB="70183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69175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55501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 dirty="0"/>
              <a:t>facture – formalisme 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303339"/>
            <a:ext cx="10853928" cy="42863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16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www.service-public.fr/professionnels-entreprises/vosdroits/F31808</a:t>
            </a:r>
            <a:r>
              <a:rPr lang="fr-FR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endParaRPr lang="fr-FR" sz="1500" dirty="0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10E6916-68A2-4418-A5BE-C012CAD7BB92}"/>
              </a:ext>
            </a:extLst>
          </p:cNvPr>
          <p:cNvSpPr txBox="1"/>
          <p:nvPr/>
        </p:nvSpPr>
        <p:spPr>
          <a:xfrm>
            <a:off x="506896" y="1859340"/>
            <a:ext cx="1118523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b="0" i="0" dirty="0">
                <a:solidFill>
                  <a:srgbClr val="414856"/>
                </a:solidFill>
                <a:effectLst/>
                <a:latin typeface="roboto_regular"/>
              </a:rPr>
              <a:t>L'entreprise qui ne respecte pas ces obligations s'expose aux amendes suivantes 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fr-FR" b="0" i="0" dirty="0">
                <a:solidFill>
                  <a:srgbClr val="414856"/>
                </a:solidFill>
                <a:effectLst/>
                <a:latin typeface="roboto_regular"/>
              </a:rPr>
              <a:t>Amende fiscale de </a:t>
            </a:r>
            <a:r>
              <a:rPr lang="fr-FR" b="0" i="0" dirty="0">
                <a:solidFill>
                  <a:srgbClr val="414856"/>
                </a:solidFill>
                <a:effectLst/>
                <a:latin typeface="roboto_bold"/>
              </a:rPr>
              <a:t>15 €</a:t>
            </a:r>
            <a:r>
              <a:rPr lang="fr-FR" b="0" i="0" dirty="0">
                <a:solidFill>
                  <a:srgbClr val="414856"/>
                </a:solidFill>
                <a:effectLst/>
                <a:latin typeface="roboto_regular"/>
              </a:rPr>
              <a:t> par mention manquante ou inexacte pour chaque facture, plafonnée au 1/4 de son montan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fr-FR" b="0" i="0" dirty="0">
                <a:solidFill>
                  <a:srgbClr val="414856"/>
                </a:solidFill>
                <a:effectLst/>
                <a:latin typeface="roboto_regular"/>
              </a:rPr>
              <a:t>Amende de </a:t>
            </a:r>
            <a:r>
              <a:rPr lang="fr-FR" b="0" i="0" dirty="0">
                <a:solidFill>
                  <a:srgbClr val="414856"/>
                </a:solidFill>
                <a:effectLst/>
                <a:latin typeface="roboto_bold"/>
              </a:rPr>
              <a:t>75 000 €</a:t>
            </a:r>
            <a:r>
              <a:rPr lang="fr-FR" b="0" i="0" dirty="0">
                <a:solidFill>
                  <a:srgbClr val="414856"/>
                </a:solidFill>
                <a:effectLst/>
                <a:latin typeface="roboto_regular"/>
              </a:rPr>
              <a:t> pour une personne physique (</a:t>
            </a:r>
            <a:r>
              <a:rPr lang="fr-FR" b="0" i="0" dirty="0">
                <a:solidFill>
                  <a:srgbClr val="414856"/>
                </a:solidFill>
                <a:effectLst/>
                <a:latin typeface="roboto_bold"/>
              </a:rPr>
              <a:t>375 000 €</a:t>
            </a:r>
            <a:r>
              <a:rPr lang="fr-FR" b="0" i="0" dirty="0">
                <a:solidFill>
                  <a:srgbClr val="414856"/>
                </a:solidFill>
                <a:effectLst/>
                <a:latin typeface="roboto_regular"/>
              </a:rPr>
              <a:t> pour une personne morale). Cette amende peut être doublée en cas de défaut de facturation, factures de complaisance et factures fictives.</a:t>
            </a:r>
          </a:p>
          <a:p>
            <a:pPr algn="l"/>
            <a:endParaRPr lang="fr-FR" b="0" i="0" dirty="0">
              <a:solidFill>
                <a:srgbClr val="414856"/>
              </a:solidFill>
              <a:effectLst/>
              <a:latin typeface="roboto_regular"/>
            </a:endParaRPr>
          </a:p>
          <a:p>
            <a:pPr algn="l"/>
            <a:endParaRPr lang="fr-FR" dirty="0">
              <a:solidFill>
                <a:srgbClr val="414856"/>
              </a:solidFill>
              <a:latin typeface="roboto_regular"/>
            </a:endParaRPr>
          </a:p>
          <a:p>
            <a:pPr algn="l"/>
            <a:r>
              <a:rPr lang="fr-FR" b="0" i="0" dirty="0">
                <a:solidFill>
                  <a:srgbClr val="414856"/>
                </a:solidFill>
                <a:effectLst/>
                <a:latin typeface="roboto_regular"/>
              </a:rPr>
              <a:t>À ces mentions obligatoires, s'ajoutent des mentions particulières dans certains cas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426880A0-D09A-47D5-ADBB-F04174F4A4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6954297"/>
              </p:ext>
            </p:extLst>
          </p:nvPr>
        </p:nvGraphicFramePr>
        <p:xfrm>
          <a:off x="506896" y="4378991"/>
          <a:ext cx="11016068" cy="1249680"/>
        </p:xfrm>
        <a:graphic>
          <a:graphicData uri="http://schemas.openxmlformats.org/drawingml/2006/table">
            <a:tbl>
              <a:tblPr/>
              <a:tblGrid>
                <a:gridCol w="5508034">
                  <a:extLst>
                    <a:ext uri="{9D8B030D-6E8A-4147-A177-3AD203B41FA5}">
                      <a16:colId xmlns:a16="http://schemas.microsoft.com/office/drawing/2014/main" val="3124173472"/>
                    </a:ext>
                  </a:extLst>
                </a:gridCol>
                <a:gridCol w="5508034">
                  <a:extLst>
                    <a:ext uri="{9D8B030D-6E8A-4147-A177-3AD203B41FA5}">
                      <a16:colId xmlns:a16="http://schemas.microsoft.com/office/drawing/2014/main" val="59342892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fontAlgn="t"/>
                      <a:r>
                        <a:rPr lang="fr-FR" i="1">
                          <a:solidFill>
                            <a:srgbClr val="414856"/>
                          </a:solidFill>
                          <a:effectLst/>
                        </a:rPr>
                        <a:t>Autoliquidation</a:t>
                      </a:r>
                      <a:r>
                        <a:rPr lang="fr-FR">
                          <a:solidFill>
                            <a:srgbClr val="414856"/>
                          </a:solidFill>
                          <a:effectLst/>
                        </a:rPr>
                        <a:t> »</a:t>
                      </a:r>
                    </a:p>
                    <a:p>
                      <a:pPr fontAlgn="t"/>
                      <a:r>
                        <a:rPr lang="fr-FR">
                          <a:solidFill>
                            <a:srgbClr val="414856"/>
                          </a:solidFill>
                          <a:effectLst/>
                        </a:rPr>
                        <a:t>Indiquer clairement qu'il s'agit d'un « </a:t>
                      </a:r>
                      <a:r>
                        <a:rPr lang="fr-FR" i="1">
                          <a:solidFill>
                            <a:srgbClr val="414856"/>
                          </a:solidFill>
                          <a:effectLst/>
                        </a:rPr>
                        <a:t> montant hors taxe</a:t>
                      </a:r>
                      <a:r>
                        <a:rPr lang="fr-FR">
                          <a:solidFill>
                            <a:srgbClr val="414856"/>
                          </a:solidFill>
                          <a:effectLst/>
                        </a:rPr>
                        <a:t> »</a:t>
                      </a:r>
                    </a:p>
                  </a:txBody>
                  <a:tcPr marL="76200" marR="76200" marT="76200" marB="7620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fr-FR" dirty="0">
                          <a:solidFill>
                            <a:srgbClr val="414856"/>
                          </a:solidFill>
                          <a:effectLst/>
                        </a:rPr>
                        <a:t>Si des travaux sont effectués par un sous-traitant du BTP pour le compte d'un donneur d'ordre assujetti à la TVA, le sous-traitant ne déclare plus la TVA et c'est l'entreprise principale qui la déclare (</a:t>
                      </a:r>
                      <a:r>
                        <a:rPr lang="fr-FR" u="sng" dirty="0" err="1">
                          <a:solidFill>
                            <a:srgbClr val="414856"/>
                          </a:solidFill>
                          <a:effectLst/>
                          <a:hlinkClick r:id="rId3"/>
                        </a:rPr>
                        <a:t>auto-liquidation</a:t>
                      </a:r>
                      <a:r>
                        <a:rPr lang="fr-FR" u="sng" dirty="0">
                          <a:solidFill>
                            <a:srgbClr val="414856"/>
                          </a:solidFill>
                          <a:effectLst/>
                          <a:hlinkClick r:id="rId3"/>
                        </a:rPr>
                        <a:t> de la TVA</a:t>
                      </a:r>
                      <a:r>
                        <a:rPr lang="fr-FR" dirty="0">
                          <a:solidFill>
                            <a:srgbClr val="414856"/>
                          </a:solidFill>
                          <a:effectLst/>
                        </a:rPr>
                        <a:t>)</a:t>
                      </a:r>
                    </a:p>
                  </a:txBody>
                  <a:tcPr marL="76200" marR="76200" marT="76200" marB="76200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4725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1803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ACA2EA0-FFD3-42EC-9406-B595015ED9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D5288BCE-665C-472A-8C43-664BCFA31E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8762" y="1247775"/>
            <a:ext cx="9144000" cy="3007447"/>
          </a:xfrm>
          <a:prstGeom prst="rect">
            <a:avLst/>
          </a:prstGeom>
          <a:solidFill>
            <a:schemeClr val="bg1"/>
          </a:solidFill>
          <a:ln w="12700">
            <a:solidFill>
              <a:srgbClr val="E1E1E1"/>
            </a:solidFill>
          </a:ln>
          <a:effectLst>
            <a:outerShdw blurRad="508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1644713-AF21-4543-94FE-A96FEBAA2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4988" y="1442172"/>
            <a:ext cx="8582025" cy="217732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66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Exerçons</a:t>
            </a:r>
            <a:r>
              <a:rPr lang="en-US" sz="66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nou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6C57131-53A7-4C1A-BEA8-25F06A06AD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487872" y="3912322"/>
            <a:ext cx="7225780" cy="6858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E6AB3AA-03B3-4E7A-94A3-3EB3E0E9D0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66988" y="3962400"/>
            <a:ext cx="7058025" cy="5810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indent="0" algn="ctr">
              <a:buNone/>
            </a:pPr>
            <a:r>
              <a:rPr lang="en-US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as HA</a:t>
            </a:r>
          </a:p>
        </p:txBody>
      </p:sp>
    </p:spTree>
    <p:extLst>
      <p:ext uri="{BB962C8B-B14F-4D97-AF65-F5344CB8AC3E}">
        <p14:creationId xmlns:p14="http://schemas.microsoft.com/office/powerpoint/2010/main" val="5185964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23E547B5-89CF-4EC0-96DE-25771AED0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3F0B8CEB-8279-4E5E-A0CE-1FC9F71736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782" y="0"/>
            <a:ext cx="7421217" cy="6857999"/>
          </a:xfrm>
          <a:prstGeom prst="rect">
            <a:avLst/>
          </a:pr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0466" y="609600"/>
            <a:ext cx="4140014" cy="1330839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br>
              <a:rPr lang="en-US" sz="2800" dirty="0"/>
            </a:br>
            <a:endParaRPr lang="en-US" sz="28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6675" r="16676" b="1"/>
          <a:stretch/>
        </p:blipFill>
        <p:spPr>
          <a:xfrm>
            <a:off x="20" y="10"/>
            <a:ext cx="6901711" cy="6857990"/>
          </a:xfrm>
          <a:custGeom>
            <a:avLst/>
            <a:gdLst/>
            <a:ahLst/>
            <a:cxnLst/>
            <a:rect l="l" t="t" r="r" b="b"/>
            <a:pathLst>
              <a:path w="6901731" h="6858000">
                <a:moveTo>
                  <a:pt x="0" y="0"/>
                </a:moveTo>
                <a:lnTo>
                  <a:pt x="6897896" y="5958"/>
                </a:lnTo>
                <a:lnTo>
                  <a:pt x="6866823" y="62592"/>
                </a:lnTo>
                <a:lnTo>
                  <a:pt x="6901731" y="89476"/>
                </a:lnTo>
                <a:lnTo>
                  <a:pt x="6901731" y="103833"/>
                </a:lnTo>
                <a:lnTo>
                  <a:pt x="6900034" y="110092"/>
                </a:lnTo>
                <a:lnTo>
                  <a:pt x="6901731" y="113679"/>
                </a:lnTo>
                <a:lnTo>
                  <a:pt x="6901731" y="405560"/>
                </a:lnTo>
                <a:lnTo>
                  <a:pt x="6900456" y="429509"/>
                </a:lnTo>
                <a:cubicBezTo>
                  <a:pt x="6892773" y="535647"/>
                  <a:pt x="6878314" y="537918"/>
                  <a:pt x="6886342" y="636808"/>
                </a:cubicBezTo>
                <a:cubicBezTo>
                  <a:pt x="6892506" y="756883"/>
                  <a:pt x="6864504" y="771443"/>
                  <a:pt x="6851784" y="839073"/>
                </a:cubicBezTo>
                <a:cubicBezTo>
                  <a:pt x="6838675" y="892655"/>
                  <a:pt x="6864124" y="961738"/>
                  <a:pt x="6845760" y="994930"/>
                </a:cubicBezTo>
                <a:cubicBezTo>
                  <a:pt x="6833572" y="1024166"/>
                  <a:pt x="6859282" y="1058905"/>
                  <a:pt x="6845601" y="1112932"/>
                </a:cubicBezTo>
                <a:cubicBezTo>
                  <a:pt x="6838700" y="1149910"/>
                  <a:pt x="6829138" y="1151035"/>
                  <a:pt x="6820235" y="1187433"/>
                </a:cubicBezTo>
                <a:cubicBezTo>
                  <a:pt x="6815504" y="1196464"/>
                  <a:pt x="6777707" y="1338549"/>
                  <a:pt x="6759643" y="1337010"/>
                </a:cubicBezTo>
                <a:cubicBezTo>
                  <a:pt x="6737660" y="1337296"/>
                  <a:pt x="6760650" y="1396341"/>
                  <a:pt x="6736375" y="1382272"/>
                </a:cubicBezTo>
                <a:cubicBezTo>
                  <a:pt x="6755741" y="1415836"/>
                  <a:pt x="6714675" y="1414567"/>
                  <a:pt x="6701292" y="1432111"/>
                </a:cubicBezTo>
                <a:cubicBezTo>
                  <a:pt x="6721110" y="1460185"/>
                  <a:pt x="6692106" y="1490815"/>
                  <a:pt x="6686578" y="1518624"/>
                </a:cubicBezTo>
                <a:cubicBezTo>
                  <a:pt x="6682512" y="1567002"/>
                  <a:pt x="6679579" y="1571443"/>
                  <a:pt x="6670824" y="1607743"/>
                </a:cubicBezTo>
                <a:cubicBezTo>
                  <a:pt x="6671133" y="1629590"/>
                  <a:pt x="6663161" y="1656870"/>
                  <a:pt x="6664392" y="1696405"/>
                </a:cubicBezTo>
                <a:cubicBezTo>
                  <a:pt x="6655686" y="1770486"/>
                  <a:pt x="6641938" y="1757082"/>
                  <a:pt x="6642880" y="1812372"/>
                </a:cubicBezTo>
                <a:cubicBezTo>
                  <a:pt x="6638579" y="1872475"/>
                  <a:pt x="6619231" y="1825476"/>
                  <a:pt x="6612547" y="1876437"/>
                </a:cubicBezTo>
                <a:cubicBezTo>
                  <a:pt x="6600695" y="1913834"/>
                  <a:pt x="6591061" y="1923231"/>
                  <a:pt x="6571760" y="1953331"/>
                </a:cubicBezTo>
                <a:cubicBezTo>
                  <a:pt x="6561039" y="1989021"/>
                  <a:pt x="6544090" y="2087896"/>
                  <a:pt x="6520213" y="2096455"/>
                </a:cubicBezTo>
                <a:lnTo>
                  <a:pt x="6492461" y="2188148"/>
                </a:lnTo>
                <a:cubicBezTo>
                  <a:pt x="6504372" y="2211333"/>
                  <a:pt x="6489131" y="2253220"/>
                  <a:pt x="6471854" y="2259117"/>
                </a:cubicBezTo>
                <a:cubicBezTo>
                  <a:pt x="6466151" y="2287829"/>
                  <a:pt x="6440452" y="2301346"/>
                  <a:pt x="6439832" y="2328334"/>
                </a:cubicBezTo>
                <a:cubicBezTo>
                  <a:pt x="6431013" y="2351201"/>
                  <a:pt x="6444250" y="2396409"/>
                  <a:pt x="6425162" y="2408211"/>
                </a:cubicBezTo>
                <a:lnTo>
                  <a:pt x="6417221" y="2427382"/>
                </a:lnTo>
                <a:lnTo>
                  <a:pt x="6425030" y="2464387"/>
                </a:lnTo>
                <a:lnTo>
                  <a:pt x="6406293" y="2472223"/>
                </a:lnTo>
                <a:cubicBezTo>
                  <a:pt x="6406862" y="2477277"/>
                  <a:pt x="6406486" y="2491723"/>
                  <a:pt x="6405400" y="2493547"/>
                </a:cubicBezTo>
                <a:lnTo>
                  <a:pt x="6374829" y="2532070"/>
                </a:lnTo>
                <a:cubicBezTo>
                  <a:pt x="6374597" y="2545374"/>
                  <a:pt x="6360976" y="2563797"/>
                  <a:pt x="6350864" y="2577422"/>
                </a:cubicBezTo>
                <a:cubicBezTo>
                  <a:pt x="6327056" y="2632768"/>
                  <a:pt x="6341262" y="2616275"/>
                  <a:pt x="6329174" y="2663854"/>
                </a:cubicBezTo>
                <a:cubicBezTo>
                  <a:pt x="6326303" y="2703642"/>
                  <a:pt x="6332854" y="2709643"/>
                  <a:pt x="6315095" y="2741507"/>
                </a:cubicBezTo>
                <a:cubicBezTo>
                  <a:pt x="6319921" y="2740191"/>
                  <a:pt x="6321925" y="2742004"/>
                  <a:pt x="6322463" y="2745641"/>
                </a:cubicBezTo>
                <a:cubicBezTo>
                  <a:pt x="6322245" y="2747982"/>
                  <a:pt x="6322027" y="2750323"/>
                  <a:pt x="6321808" y="2752663"/>
                </a:cubicBezTo>
                <a:lnTo>
                  <a:pt x="6314569" y="2756718"/>
                </a:lnTo>
                <a:cubicBezTo>
                  <a:pt x="6289324" y="2773686"/>
                  <a:pt x="6317551" y="2780051"/>
                  <a:pt x="6315211" y="2811618"/>
                </a:cubicBezTo>
                <a:cubicBezTo>
                  <a:pt x="6315620" y="2826627"/>
                  <a:pt x="6296047" y="2885298"/>
                  <a:pt x="6302211" y="2882314"/>
                </a:cubicBezTo>
                <a:lnTo>
                  <a:pt x="6286167" y="2949597"/>
                </a:lnTo>
                <a:cubicBezTo>
                  <a:pt x="6286401" y="2994618"/>
                  <a:pt x="6286615" y="2971464"/>
                  <a:pt x="6287037" y="3008578"/>
                </a:cubicBezTo>
                <a:cubicBezTo>
                  <a:pt x="6293795" y="3029535"/>
                  <a:pt x="6274405" y="3114154"/>
                  <a:pt x="6259150" y="3123139"/>
                </a:cubicBezTo>
                <a:cubicBezTo>
                  <a:pt x="6250085" y="3189063"/>
                  <a:pt x="6269067" y="3151280"/>
                  <a:pt x="6272249" y="3227854"/>
                </a:cubicBezTo>
                <a:cubicBezTo>
                  <a:pt x="6278775" y="3295842"/>
                  <a:pt x="6289216" y="3303765"/>
                  <a:pt x="6292288" y="3378383"/>
                </a:cubicBezTo>
                <a:cubicBezTo>
                  <a:pt x="6303894" y="3395995"/>
                  <a:pt x="6287498" y="3432581"/>
                  <a:pt x="6288328" y="3459618"/>
                </a:cubicBezTo>
                <a:cubicBezTo>
                  <a:pt x="6289158" y="3486653"/>
                  <a:pt x="6299937" y="3538735"/>
                  <a:pt x="6297272" y="3540603"/>
                </a:cubicBezTo>
                <a:cubicBezTo>
                  <a:pt x="6296849" y="3577379"/>
                  <a:pt x="6294184" y="3587943"/>
                  <a:pt x="6291001" y="3638374"/>
                </a:cubicBezTo>
                <a:cubicBezTo>
                  <a:pt x="6283026" y="3666794"/>
                  <a:pt x="6265833" y="3731744"/>
                  <a:pt x="6283592" y="3763609"/>
                </a:cubicBezTo>
                <a:cubicBezTo>
                  <a:pt x="6264286" y="3758340"/>
                  <a:pt x="6290177" y="3803150"/>
                  <a:pt x="6274068" y="3814506"/>
                </a:cubicBezTo>
                <a:cubicBezTo>
                  <a:pt x="6260645" y="3821643"/>
                  <a:pt x="6265372" y="3836902"/>
                  <a:pt x="6262850" y="3850454"/>
                </a:cubicBezTo>
                <a:cubicBezTo>
                  <a:pt x="6250418" y="3863479"/>
                  <a:pt x="6250660" y="3955243"/>
                  <a:pt x="6257357" y="3975474"/>
                </a:cubicBezTo>
                <a:cubicBezTo>
                  <a:pt x="6245091" y="4036737"/>
                  <a:pt x="6237535" y="4029237"/>
                  <a:pt x="6257889" y="4073155"/>
                </a:cubicBezTo>
                <a:cubicBezTo>
                  <a:pt x="6259272" y="4085906"/>
                  <a:pt x="6239882" y="4116397"/>
                  <a:pt x="6237441" y="4126638"/>
                </a:cubicBezTo>
                <a:lnTo>
                  <a:pt x="6245587" y="4172738"/>
                </a:lnTo>
                <a:lnTo>
                  <a:pt x="6235772" y="4176721"/>
                </a:lnTo>
                <a:lnTo>
                  <a:pt x="6233287" y="4195136"/>
                </a:lnTo>
                <a:lnTo>
                  <a:pt x="6234619" y="4280850"/>
                </a:lnTo>
                <a:cubicBezTo>
                  <a:pt x="6239453" y="4320763"/>
                  <a:pt x="6223309" y="4337596"/>
                  <a:pt x="6219318" y="4402526"/>
                </a:cubicBezTo>
                <a:cubicBezTo>
                  <a:pt x="6205466" y="4516209"/>
                  <a:pt x="6216183" y="4588729"/>
                  <a:pt x="6216810" y="4651172"/>
                </a:cubicBezTo>
                <a:cubicBezTo>
                  <a:pt x="6217673" y="4756959"/>
                  <a:pt x="6228654" y="4824005"/>
                  <a:pt x="6225945" y="4916779"/>
                </a:cubicBezTo>
                <a:cubicBezTo>
                  <a:pt x="6217032" y="4993010"/>
                  <a:pt x="6264271" y="4984591"/>
                  <a:pt x="6230174" y="5051379"/>
                </a:cubicBezTo>
                <a:cubicBezTo>
                  <a:pt x="6235713" y="5056951"/>
                  <a:pt x="6239420" y="5163714"/>
                  <a:pt x="6242600" y="5170879"/>
                </a:cubicBezTo>
                <a:lnTo>
                  <a:pt x="6235996" y="5216428"/>
                </a:lnTo>
                <a:lnTo>
                  <a:pt x="6214638" y="5285298"/>
                </a:lnTo>
                <a:cubicBezTo>
                  <a:pt x="6211392" y="5297492"/>
                  <a:pt x="6225576" y="5312063"/>
                  <a:pt x="6228432" y="5317696"/>
                </a:cubicBezTo>
                <a:lnTo>
                  <a:pt x="6246496" y="5398787"/>
                </a:lnTo>
                <a:lnTo>
                  <a:pt x="6244793" y="5399530"/>
                </a:lnTo>
                <a:lnTo>
                  <a:pt x="6241695" y="5406948"/>
                </a:lnTo>
                <a:lnTo>
                  <a:pt x="6267461" y="5499413"/>
                </a:lnTo>
                <a:cubicBezTo>
                  <a:pt x="6285387" y="5533848"/>
                  <a:pt x="6284888" y="5550029"/>
                  <a:pt x="6295987" y="5582659"/>
                </a:cubicBezTo>
                <a:cubicBezTo>
                  <a:pt x="6311253" y="5681724"/>
                  <a:pt x="6295439" y="5695558"/>
                  <a:pt x="6364803" y="5784263"/>
                </a:cubicBezTo>
                <a:cubicBezTo>
                  <a:pt x="6379348" y="5818651"/>
                  <a:pt x="6412475" y="5906802"/>
                  <a:pt x="6423050" y="5922637"/>
                </a:cubicBezTo>
                <a:cubicBezTo>
                  <a:pt x="6445210" y="5973612"/>
                  <a:pt x="6468179" y="6023873"/>
                  <a:pt x="6497767" y="6090108"/>
                </a:cubicBezTo>
                <a:cubicBezTo>
                  <a:pt x="6571895" y="6150548"/>
                  <a:pt x="6572491" y="6236583"/>
                  <a:pt x="6606710" y="6281543"/>
                </a:cubicBezTo>
                <a:cubicBezTo>
                  <a:pt x="6633675" y="6335892"/>
                  <a:pt x="6654357" y="6388782"/>
                  <a:pt x="6667540" y="6443715"/>
                </a:cubicBezTo>
                <a:cubicBezTo>
                  <a:pt x="6685192" y="6466826"/>
                  <a:pt x="6650500" y="6508701"/>
                  <a:pt x="6659722" y="6550105"/>
                </a:cubicBezTo>
                <a:cubicBezTo>
                  <a:pt x="6665926" y="6645044"/>
                  <a:pt x="6669126" y="6627536"/>
                  <a:pt x="6671805" y="6687397"/>
                </a:cubicBezTo>
                <a:cubicBezTo>
                  <a:pt x="6682671" y="6733683"/>
                  <a:pt x="6665210" y="6772117"/>
                  <a:pt x="6669658" y="6806602"/>
                </a:cubicBezTo>
                <a:cubicBezTo>
                  <a:pt x="6661174" y="6812658"/>
                  <a:pt x="6667097" y="6831470"/>
                  <a:pt x="6675783" y="6850325"/>
                </a:cubicBezTo>
                <a:lnTo>
                  <a:pt x="6679704" y="6858000"/>
                </a:lnTo>
                <a:lnTo>
                  <a:pt x="4532241" y="6858000"/>
                </a:lnTo>
                <a:lnTo>
                  <a:pt x="120859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7320465" y="2194102"/>
            <a:ext cx="4140013" cy="39085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Les </a:t>
            </a:r>
            <a:r>
              <a:rPr lang="en-US" sz="3200" dirty="0" err="1"/>
              <a:t>écritures</a:t>
            </a:r>
            <a:r>
              <a:rPr lang="en-US" sz="3200" dirty="0"/>
              <a:t> et la TVA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as pratiques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HA – VENTE 1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668523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owchart: Document 9">
            <a:extLst>
              <a:ext uri="{FF2B5EF4-FFF2-40B4-BE49-F238E27FC236}">
                <a16:creationId xmlns:a16="http://schemas.microsoft.com/office/drawing/2014/main" id="{D12DDE76-C203-4047-9998-63900085B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8175" y="0"/>
            <a:ext cx="3248025" cy="3400426"/>
          </a:xfrm>
          <a:prstGeom prst="flowChartDocumen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1644713-AF21-4543-94FE-A96FEBAA2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1162"/>
            <a:ext cx="2840182" cy="237114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Exemple de facture</a:t>
            </a:r>
          </a:p>
        </p:txBody>
      </p:sp>
      <p:graphicFrame>
        <p:nvGraphicFramePr>
          <p:cNvPr id="5" name="Espace réservé du contenu 4">
            <a:extLst>
              <a:ext uri="{FF2B5EF4-FFF2-40B4-BE49-F238E27FC236}">
                <a16:creationId xmlns:a16="http://schemas.microsoft.com/office/drawing/2014/main" id="{9BF48972-D5B8-45E7-B42C-BD25881C033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0350105"/>
              </p:ext>
            </p:extLst>
          </p:nvPr>
        </p:nvGraphicFramePr>
        <p:xfrm>
          <a:off x="4207933" y="960618"/>
          <a:ext cx="7347538" cy="4937742"/>
        </p:xfrm>
        <a:graphic>
          <a:graphicData uri="http://schemas.openxmlformats.org/drawingml/2006/table">
            <a:tbl>
              <a:tblPr firstRow="1" bandRow="1"/>
              <a:tblGrid>
                <a:gridCol w="2470355">
                  <a:extLst>
                    <a:ext uri="{9D8B030D-6E8A-4147-A177-3AD203B41FA5}">
                      <a16:colId xmlns:a16="http://schemas.microsoft.com/office/drawing/2014/main" val="2254811468"/>
                    </a:ext>
                  </a:extLst>
                </a:gridCol>
                <a:gridCol w="1502883">
                  <a:extLst>
                    <a:ext uri="{9D8B030D-6E8A-4147-A177-3AD203B41FA5}">
                      <a16:colId xmlns:a16="http://schemas.microsoft.com/office/drawing/2014/main" val="2744424153"/>
                    </a:ext>
                  </a:extLst>
                </a:gridCol>
                <a:gridCol w="1687150">
                  <a:extLst>
                    <a:ext uri="{9D8B030D-6E8A-4147-A177-3AD203B41FA5}">
                      <a16:colId xmlns:a16="http://schemas.microsoft.com/office/drawing/2014/main" val="3583009457"/>
                    </a:ext>
                  </a:extLst>
                </a:gridCol>
                <a:gridCol w="1687150">
                  <a:extLst>
                    <a:ext uri="{9D8B030D-6E8A-4147-A177-3AD203B41FA5}">
                      <a16:colId xmlns:a16="http://schemas.microsoft.com/office/drawing/2014/main" val="2207058979"/>
                    </a:ext>
                  </a:extLst>
                </a:gridCol>
              </a:tblGrid>
              <a:tr h="274319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</a:t>
                      </a: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IL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8590018"/>
                  </a:ext>
                </a:extLst>
              </a:tr>
              <a:tr h="274319">
                <a:tc gridSpan="4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 : </a:t>
                      </a: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1/04/N</a:t>
                      </a: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Facture Doit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5235770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</a:t>
                      </a: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OCAL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5300173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6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ésignation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6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Quantité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6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ix Unitaire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6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ntant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2372783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 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0,00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80,00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5080464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Remise 5%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,00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7090211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583162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lde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56,00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352339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3435518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Rabais 10%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45,60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1507893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2499872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commercial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0,40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7870192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5087069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H.T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0,40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8968407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064382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T.V.A 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2,08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1584938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3785456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T.T.C à payer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6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92,48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20" marR="392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83206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63900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7" name="Rectangle 76">
            <a:extLst>
              <a:ext uri="{FF2B5EF4-FFF2-40B4-BE49-F238E27FC236}">
                <a16:creationId xmlns:a16="http://schemas.microsoft.com/office/drawing/2014/main" id="{8537B233-9CDD-4A90-AABB-A8963DEE4F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3400" y="818457"/>
            <a:ext cx="3322317" cy="2975876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br>
              <a:rPr lang="en-US" sz="3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en-US" sz="31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t="21540" b="21540"/>
          <a:stretch/>
        </p:blipFill>
        <p:spPr>
          <a:xfrm>
            <a:off x="716280" y="2215808"/>
            <a:ext cx="5401937" cy="2036367"/>
          </a:xfrm>
          <a:prstGeom prst="rect">
            <a:avLst/>
          </a:prstGeom>
        </p:spPr>
      </p:pic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040575EE-C594-4566-BC00-663004E52A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617861" y="1417320"/>
            <a:ext cx="0" cy="402336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8045042" y="1417320"/>
            <a:ext cx="364977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>
                <a:latin typeface="Arial" panose="020B0604020202020204" pitchFamily="34" charset="0"/>
                <a:cs typeface="Arial" panose="020B0604020202020204" pitchFamily="34" charset="0"/>
              </a:rPr>
              <a:t>Les </a:t>
            </a:r>
            <a:r>
              <a:rPr lang="fr-FR" sz="3200" dirty="0" err="1">
                <a:latin typeface="Arial" panose="020B0604020202020204" pitchFamily="34" charset="0"/>
                <a:cs typeface="Arial" panose="020B0604020202020204" pitchFamily="34" charset="0"/>
              </a:rPr>
              <a:t>ecritures</a:t>
            </a:r>
            <a:endParaRPr lang="fr-FR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886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644713-AF21-4543-94FE-A96FEBAA2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xerçons nous – Cas HA -correction</a:t>
            </a:r>
          </a:p>
        </p:txBody>
      </p:sp>
      <p:graphicFrame>
        <p:nvGraphicFramePr>
          <p:cNvPr id="9" name="Espace réservé du contenu 8">
            <a:extLst>
              <a:ext uri="{FF2B5EF4-FFF2-40B4-BE49-F238E27FC236}">
                <a16:creationId xmlns:a16="http://schemas.microsoft.com/office/drawing/2014/main" id="{28197CF5-4A66-4B20-AD59-453DC110C40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82698480"/>
              </p:ext>
            </p:extLst>
          </p:nvPr>
        </p:nvGraphicFramePr>
        <p:xfrm>
          <a:off x="1887522" y="1690687"/>
          <a:ext cx="7256477" cy="4668161"/>
        </p:xfrm>
        <a:graphic>
          <a:graphicData uri="http://schemas.openxmlformats.org/drawingml/2006/table">
            <a:tbl>
              <a:tblPr/>
              <a:tblGrid>
                <a:gridCol w="2790953">
                  <a:extLst>
                    <a:ext uri="{9D8B030D-6E8A-4147-A177-3AD203B41FA5}">
                      <a16:colId xmlns:a16="http://schemas.microsoft.com/office/drawing/2014/main" val="2720465278"/>
                    </a:ext>
                  </a:extLst>
                </a:gridCol>
                <a:gridCol w="1488508">
                  <a:extLst>
                    <a:ext uri="{9D8B030D-6E8A-4147-A177-3AD203B41FA5}">
                      <a16:colId xmlns:a16="http://schemas.microsoft.com/office/drawing/2014/main" val="1108711244"/>
                    </a:ext>
                  </a:extLst>
                </a:gridCol>
                <a:gridCol w="1488508">
                  <a:extLst>
                    <a:ext uri="{9D8B030D-6E8A-4147-A177-3AD203B41FA5}">
                      <a16:colId xmlns:a16="http://schemas.microsoft.com/office/drawing/2014/main" val="1605310317"/>
                    </a:ext>
                  </a:extLst>
                </a:gridCol>
                <a:gridCol w="1488508">
                  <a:extLst>
                    <a:ext uri="{9D8B030D-6E8A-4147-A177-3AD203B41FA5}">
                      <a16:colId xmlns:a16="http://schemas.microsoft.com/office/drawing/2014/main" val="2511751768"/>
                    </a:ext>
                  </a:extLst>
                </a:gridCol>
              </a:tblGrid>
              <a:tr h="24973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AIL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7392377"/>
                  </a:ext>
                </a:extLst>
              </a:tr>
              <a:tr h="249737">
                <a:tc gridSpan="4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 : 01/04/N     Facture Doit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324944"/>
                  </a:ext>
                </a:extLst>
              </a:tr>
              <a:tr h="422632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BOCAL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2442308"/>
                  </a:ext>
                </a:extLst>
              </a:tr>
              <a:tr h="249737"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ésignation</a:t>
                      </a:r>
                      <a:endParaRPr lang="fr-FR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Quantité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ix Unitaire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ntant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8351151"/>
                  </a:ext>
                </a:extLst>
              </a:tr>
              <a:tr h="24973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 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0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80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1348254"/>
                  </a:ext>
                </a:extLst>
              </a:tr>
              <a:tr h="24973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Remise 5%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237547"/>
                  </a:ext>
                </a:extLst>
              </a:tr>
              <a:tr h="24973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7282142"/>
                  </a:ext>
                </a:extLst>
              </a:tr>
              <a:tr h="24973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lde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56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8228021"/>
                  </a:ext>
                </a:extLst>
              </a:tr>
              <a:tr h="24973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8138805"/>
                  </a:ext>
                </a:extLst>
              </a:tr>
              <a:tr h="24973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Rabais 10%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45,6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7202176"/>
                  </a:ext>
                </a:extLst>
              </a:tr>
              <a:tr h="24973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8042858"/>
                  </a:ext>
                </a:extLst>
              </a:tr>
              <a:tr h="24973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commercial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0,4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8163604"/>
                  </a:ext>
                </a:extLst>
              </a:tr>
              <a:tr h="24973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9741087"/>
                  </a:ext>
                </a:extLst>
              </a:tr>
              <a:tr h="24973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H.T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0,4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0484402"/>
                  </a:ext>
                </a:extLst>
              </a:tr>
              <a:tr h="24973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227191"/>
                  </a:ext>
                </a:extLst>
              </a:tr>
              <a:tr h="24973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T.V.A 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2,08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8225737"/>
                  </a:ext>
                </a:extLst>
              </a:tr>
              <a:tr h="24973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0700974"/>
                  </a:ext>
                </a:extLst>
              </a:tr>
              <a:tr h="24973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T.T.C à payer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92,48</a:t>
                      </a:r>
                      <a:endParaRPr lang="fr-FR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35216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092479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9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C94751B-4797-48DD-A7B0-4DB16F378D6D}"/>
              </a:ext>
            </a:extLst>
          </p:cNvPr>
          <p:cNvSpPr txBox="1"/>
          <p:nvPr/>
        </p:nvSpPr>
        <p:spPr>
          <a:xfrm>
            <a:off x="1371597" y="348865"/>
            <a:ext cx="10044023" cy="877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Cas HA - correction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87A75930-C904-4BA5-8DC2-25CEE707824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79437952"/>
              </p:ext>
            </p:extLst>
          </p:nvPr>
        </p:nvGraphicFramePr>
        <p:xfrm>
          <a:off x="766691" y="2351770"/>
          <a:ext cx="10682565" cy="3714428"/>
        </p:xfrm>
        <a:graphic>
          <a:graphicData uri="http://schemas.openxmlformats.org/drawingml/2006/table">
            <a:tbl>
              <a:tblPr firstRow="1" bandRow="1"/>
              <a:tblGrid>
                <a:gridCol w="1368063">
                  <a:extLst>
                    <a:ext uri="{9D8B030D-6E8A-4147-A177-3AD203B41FA5}">
                      <a16:colId xmlns:a16="http://schemas.microsoft.com/office/drawing/2014/main" val="4057506043"/>
                    </a:ext>
                  </a:extLst>
                </a:gridCol>
                <a:gridCol w="985634">
                  <a:extLst>
                    <a:ext uri="{9D8B030D-6E8A-4147-A177-3AD203B41FA5}">
                      <a16:colId xmlns:a16="http://schemas.microsoft.com/office/drawing/2014/main" val="4190968552"/>
                    </a:ext>
                  </a:extLst>
                </a:gridCol>
                <a:gridCol w="1025019">
                  <a:extLst>
                    <a:ext uri="{9D8B030D-6E8A-4147-A177-3AD203B41FA5}">
                      <a16:colId xmlns:a16="http://schemas.microsoft.com/office/drawing/2014/main" val="3234383383"/>
                    </a:ext>
                  </a:extLst>
                </a:gridCol>
                <a:gridCol w="760836">
                  <a:extLst>
                    <a:ext uri="{9D8B030D-6E8A-4147-A177-3AD203B41FA5}">
                      <a16:colId xmlns:a16="http://schemas.microsoft.com/office/drawing/2014/main" val="3220055168"/>
                    </a:ext>
                  </a:extLst>
                </a:gridCol>
                <a:gridCol w="2438545">
                  <a:extLst>
                    <a:ext uri="{9D8B030D-6E8A-4147-A177-3AD203B41FA5}">
                      <a16:colId xmlns:a16="http://schemas.microsoft.com/office/drawing/2014/main" val="4086982334"/>
                    </a:ext>
                  </a:extLst>
                </a:gridCol>
                <a:gridCol w="1085825">
                  <a:extLst>
                    <a:ext uri="{9D8B030D-6E8A-4147-A177-3AD203B41FA5}">
                      <a16:colId xmlns:a16="http://schemas.microsoft.com/office/drawing/2014/main" val="4242193868"/>
                    </a:ext>
                  </a:extLst>
                </a:gridCol>
                <a:gridCol w="1557031">
                  <a:extLst>
                    <a:ext uri="{9D8B030D-6E8A-4147-A177-3AD203B41FA5}">
                      <a16:colId xmlns:a16="http://schemas.microsoft.com/office/drawing/2014/main" val="1590246463"/>
                    </a:ext>
                  </a:extLst>
                </a:gridCol>
                <a:gridCol w="1461612">
                  <a:extLst>
                    <a:ext uri="{9D8B030D-6E8A-4147-A177-3AD203B41FA5}">
                      <a16:colId xmlns:a16="http://schemas.microsoft.com/office/drawing/2014/main" val="861042829"/>
                    </a:ext>
                  </a:extLst>
                </a:gridCol>
              </a:tblGrid>
              <a:tr h="240684">
                <a:tc>
                  <a:txBody>
                    <a:bodyPr/>
                    <a:lstStyle/>
                    <a:p>
                      <a:pPr algn="ctr"/>
                      <a:r>
                        <a:rPr lang="fr-FR" sz="13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8135834"/>
                  </a:ext>
                </a:extLst>
              </a:tr>
              <a:tr h="546028">
                <a:tc>
                  <a:txBody>
                    <a:bodyPr/>
                    <a:lstStyle/>
                    <a:p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33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33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33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1/04/N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33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0516250"/>
                  </a:ext>
                </a:extLst>
              </a:tr>
              <a:tr h="546028">
                <a:tc>
                  <a:txBody>
                    <a:bodyPr/>
                    <a:lstStyle/>
                    <a:p>
                      <a:r>
                        <a:rPr lang="fr-FR" sz="33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1</a:t>
                      </a:r>
                      <a:endParaRPr lang="fr-FR" sz="3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hat de matières premières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0 ,40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0296881"/>
                  </a:ext>
                </a:extLst>
              </a:tr>
              <a:tr h="1048948">
                <a:tc>
                  <a:txBody>
                    <a:bodyPr/>
                    <a:lstStyle/>
                    <a:p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66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33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.V.A déductible sur biens et services</a:t>
                      </a:r>
                      <a:endParaRPr lang="fr-FR" sz="3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2,08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955426"/>
                  </a:ext>
                </a:extLst>
              </a:tr>
              <a:tr h="546028">
                <a:tc>
                  <a:txBody>
                    <a:bodyPr/>
                    <a:lstStyle/>
                    <a:p>
                      <a:pPr algn="ctr"/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R="46990" algn="r"/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Fournisseurs AIL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92,48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9996030"/>
                  </a:ext>
                </a:extLst>
              </a:tr>
              <a:tr h="546028">
                <a:tc>
                  <a:txBody>
                    <a:bodyPr/>
                    <a:lstStyle/>
                    <a:p>
                      <a:pPr algn="ctr"/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cture N°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3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3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4247394"/>
                  </a:ext>
                </a:extLst>
              </a:tr>
              <a:tr h="240684">
                <a:tc>
                  <a:txBody>
                    <a:bodyPr/>
                    <a:lstStyle/>
                    <a:p>
                      <a:pPr algn="ctr"/>
                      <a:r>
                        <a:rPr lang="fr-FR" sz="1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3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20896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01981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23E547B5-89CF-4EC0-96DE-25771AED0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3F0B8CEB-8279-4E5E-A0CE-1FC9F71736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782" y="0"/>
            <a:ext cx="7421217" cy="6857999"/>
          </a:xfrm>
          <a:prstGeom prst="rect">
            <a:avLst/>
          </a:pr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0466" y="609600"/>
            <a:ext cx="4140014" cy="1330839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br>
              <a:rPr lang="en-US" sz="2800" dirty="0"/>
            </a:br>
            <a:endParaRPr lang="en-US" sz="28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6675" r="16676" b="1"/>
          <a:stretch/>
        </p:blipFill>
        <p:spPr>
          <a:xfrm>
            <a:off x="20" y="10"/>
            <a:ext cx="6901711" cy="6857990"/>
          </a:xfrm>
          <a:custGeom>
            <a:avLst/>
            <a:gdLst/>
            <a:ahLst/>
            <a:cxnLst/>
            <a:rect l="l" t="t" r="r" b="b"/>
            <a:pathLst>
              <a:path w="6901731" h="6858000">
                <a:moveTo>
                  <a:pt x="0" y="0"/>
                </a:moveTo>
                <a:lnTo>
                  <a:pt x="6897896" y="5958"/>
                </a:lnTo>
                <a:lnTo>
                  <a:pt x="6866823" y="62592"/>
                </a:lnTo>
                <a:lnTo>
                  <a:pt x="6901731" y="89476"/>
                </a:lnTo>
                <a:lnTo>
                  <a:pt x="6901731" y="103833"/>
                </a:lnTo>
                <a:lnTo>
                  <a:pt x="6900034" y="110092"/>
                </a:lnTo>
                <a:lnTo>
                  <a:pt x="6901731" y="113679"/>
                </a:lnTo>
                <a:lnTo>
                  <a:pt x="6901731" y="405560"/>
                </a:lnTo>
                <a:lnTo>
                  <a:pt x="6900456" y="429509"/>
                </a:lnTo>
                <a:cubicBezTo>
                  <a:pt x="6892773" y="535647"/>
                  <a:pt x="6878314" y="537918"/>
                  <a:pt x="6886342" y="636808"/>
                </a:cubicBezTo>
                <a:cubicBezTo>
                  <a:pt x="6892506" y="756883"/>
                  <a:pt x="6864504" y="771443"/>
                  <a:pt x="6851784" y="839073"/>
                </a:cubicBezTo>
                <a:cubicBezTo>
                  <a:pt x="6838675" y="892655"/>
                  <a:pt x="6864124" y="961738"/>
                  <a:pt x="6845760" y="994930"/>
                </a:cubicBezTo>
                <a:cubicBezTo>
                  <a:pt x="6833572" y="1024166"/>
                  <a:pt x="6859282" y="1058905"/>
                  <a:pt x="6845601" y="1112932"/>
                </a:cubicBezTo>
                <a:cubicBezTo>
                  <a:pt x="6838700" y="1149910"/>
                  <a:pt x="6829138" y="1151035"/>
                  <a:pt x="6820235" y="1187433"/>
                </a:cubicBezTo>
                <a:cubicBezTo>
                  <a:pt x="6815504" y="1196464"/>
                  <a:pt x="6777707" y="1338549"/>
                  <a:pt x="6759643" y="1337010"/>
                </a:cubicBezTo>
                <a:cubicBezTo>
                  <a:pt x="6737660" y="1337296"/>
                  <a:pt x="6760650" y="1396341"/>
                  <a:pt x="6736375" y="1382272"/>
                </a:cubicBezTo>
                <a:cubicBezTo>
                  <a:pt x="6755741" y="1415836"/>
                  <a:pt x="6714675" y="1414567"/>
                  <a:pt x="6701292" y="1432111"/>
                </a:cubicBezTo>
                <a:cubicBezTo>
                  <a:pt x="6721110" y="1460185"/>
                  <a:pt x="6692106" y="1490815"/>
                  <a:pt x="6686578" y="1518624"/>
                </a:cubicBezTo>
                <a:cubicBezTo>
                  <a:pt x="6682512" y="1567002"/>
                  <a:pt x="6679579" y="1571443"/>
                  <a:pt x="6670824" y="1607743"/>
                </a:cubicBezTo>
                <a:cubicBezTo>
                  <a:pt x="6671133" y="1629590"/>
                  <a:pt x="6663161" y="1656870"/>
                  <a:pt x="6664392" y="1696405"/>
                </a:cubicBezTo>
                <a:cubicBezTo>
                  <a:pt x="6655686" y="1770486"/>
                  <a:pt x="6641938" y="1757082"/>
                  <a:pt x="6642880" y="1812372"/>
                </a:cubicBezTo>
                <a:cubicBezTo>
                  <a:pt x="6638579" y="1872475"/>
                  <a:pt x="6619231" y="1825476"/>
                  <a:pt x="6612547" y="1876437"/>
                </a:cubicBezTo>
                <a:cubicBezTo>
                  <a:pt x="6600695" y="1913834"/>
                  <a:pt x="6591061" y="1923231"/>
                  <a:pt x="6571760" y="1953331"/>
                </a:cubicBezTo>
                <a:cubicBezTo>
                  <a:pt x="6561039" y="1989021"/>
                  <a:pt x="6544090" y="2087896"/>
                  <a:pt x="6520213" y="2096455"/>
                </a:cubicBezTo>
                <a:lnTo>
                  <a:pt x="6492461" y="2188148"/>
                </a:lnTo>
                <a:cubicBezTo>
                  <a:pt x="6504372" y="2211333"/>
                  <a:pt x="6489131" y="2253220"/>
                  <a:pt x="6471854" y="2259117"/>
                </a:cubicBezTo>
                <a:cubicBezTo>
                  <a:pt x="6466151" y="2287829"/>
                  <a:pt x="6440452" y="2301346"/>
                  <a:pt x="6439832" y="2328334"/>
                </a:cubicBezTo>
                <a:cubicBezTo>
                  <a:pt x="6431013" y="2351201"/>
                  <a:pt x="6444250" y="2396409"/>
                  <a:pt x="6425162" y="2408211"/>
                </a:cubicBezTo>
                <a:lnTo>
                  <a:pt x="6417221" y="2427382"/>
                </a:lnTo>
                <a:lnTo>
                  <a:pt x="6425030" y="2464387"/>
                </a:lnTo>
                <a:lnTo>
                  <a:pt x="6406293" y="2472223"/>
                </a:lnTo>
                <a:cubicBezTo>
                  <a:pt x="6406862" y="2477277"/>
                  <a:pt x="6406486" y="2491723"/>
                  <a:pt x="6405400" y="2493547"/>
                </a:cubicBezTo>
                <a:lnTo>
                  <a:pt x="6374829" y="2532070"/>
                </a:lnTo>
                <a:cubicBezTo>
                  <a:pt x="6374597" y="2545374"/>
                  <a:pt x="6360976" y="2563797"/>
                  <a:pt x="6350864" y="2577422"/>
                </a:cubicBezTo>
                <a:cubicBezTo>
                  <a:pt x="6327056" y="2632768"/>
                  <a:pt x="6341262" y="2616275"/>
                  <a:pt x="6329174" y="2663854"/>
                </a:cubicBezTo>
                <a:cubicBezTo>
                  <a:pt x="6326303" y="2703642"/>
                  <a:pt x="6332854" y="2709643"/>
                  <a:pt x="6315095" y="2741507"/>
                </a:cubicBezTo>
                <a:cubicBezTo>
                  <a:pt x="6319921" y="2740191"/>
                  <a:pt x="6321925" y="2742004"/>
                  <a:pt x="6322463" y="2745641"/>
                </a:cubicBezTo>
                <a:cubicBezTo>
                  <a:pt x="6322245" y="2747982"/>
                  <a:pt x="6322027" y="2750323"/>
                  <a:pt x="6321808" y="2752663"/>
                </a:cubicBezTo>
                <a:lnTo>
                  <a:pt x="6314569" y="2756718"/>
                </a:lnTo>
                <a:cubicBezTo>
                  <a:pt x="6289324" y="2773686"/>
                  <a:pt x="6317551" y="2780051"/>
                  <a:pt x="6315211" y="2811618"/>
                </a:cubicBezTo>
                <a:cubicBezTo>
                  <a:pt x="6315620" y="2826627"/>
                  <a:pt x="6296047" y="2885298"/>
                  <a:pt x="6302211" y="2882314"/>
                </a:cubicBezTo>
                <a:lnTo>
                  <a:pt x="6286167" y="2949597"/>
                </a:lnTo>
                <a:cubicBezTo>
                  <a:pt x="6286401" y="2994618"/>
                  <a:pt x="6286615" y="2971464"/>
                  <a:pt x="6287037" y="3008578"/>
                </a:cubicBezTo>
                <a:cubicBezTo>
                  <a:pt x="6293795" y="3029535"/>
                  <a:pt x="6274405" y="3114154"/>
                  <a:pt x="6259150" y="3123139"/>
                </a:cubicBezTo>
                <a:cubicBezTo>
                  <a:pt x="6250085" y="3189063"/>
                  <a:pt x="6269067" y="3151280"/>
                  <a:pt x="6272249" y="3227854"/>
                </a:cubicBezTo>
                <a:cubicBezTo>
                  <a:pt x="6278775" y="3295842"/>
                  <a:pt x="6289216" y="3303765"/>
                  <a:pt x="6292288" y="3378383"/>
                </a:cubicBezTo>
                <a:cubicBezTo>
                  <a:pt x="6303894" y="3395995"/>
                  <a:pt x="6287498" y="3432581"/>
                  <a:pt x="6288328" y="3459618"/>
                </a:cubicBezTo>
                <a:cubicBezTo>
                  <a:pt x="6289158" y="3486653"/>
                  <a:pt x="6299937" y="3538735"/>
                  <a:pt x="6297272" y="3540603"/>
                </a:cubicBezTo>
                <a:cubicBezTo>
                  <a:pt x="6296849" y="3577379"/>
                  <a:pt x="6294184" y="3587943"/>
                  <a:pt x="6291001" y="3638374"/>
                </a:cubicBezTo>
                <a:cubicBezTo>
                  <a:pt x="6283026" y="3666794"/>
                  <a:pt x="6265833" y="3731744"/>
                  <a:pt x="6283592" y="3763609"/>
                </a:cubicBezTo>
                <a:cubicBezTo>
                  <a:pt x="6264286" y="3758340"/>
                  <a:pt x="6290177" y="3803150"/>
                  <a:pt x="6274068" y="3814506"/>
                </a:cubicBezTo>
                <a:cubicBezTo>
                  <a:pt x="6260645" y="3821643"/>
                  <a:pt x="6265372" y="3836902"/>
                  <a:pt x="6262850" y="3850454"/>
                </a:cubicBezTo>
                <a:cubicBezTo>
                  <a:pt x="6250418" y="3863479"/>
                  <a:pt x="6250660" y="3955243"/>
                  <a:pt x="6257357" y="3975474"/>
                </a:cubicBezTo>
                <a:cubicBezTo>
                  <a:pt x="6245091" y="4036737"/>
                  <a:pt x="6237535" y="4029237"/>
                  <a:pt x="6257889" y="4073155"/>
                </a:cubicBezTo>
                <a:cubicBezTo>
                  <a:pt x="6259272" y="4085906"/>
                  <a:pt x="6239882" y="4116397"/>
                  <a:pt x="6237441" y="4126638"/>
                </a:cubicBezTo>
                <a:lnTo>
                  <a:pt x="6245587" y="4172738"/>
                </a:lnTo>
                <a:lnTo>
                  <a:pt x="6235772" y="4176721"/>
                </a:lnTo>
                <a:lnTo>
                  <a:pt x="6233287" y="4195136"/>
                </a:lnTo>
                <a:lnTo>
                  <a:pt x="6234619" y="4280850"/>
                </a:lnTo>
                <a:cubicBezTo>
                  <a:pt x="6239453" y="4320763"/>
                  <a:pt x="6223309" y="4337596"/>
                  <a:pt x="6219318" y="4402526"/>
                </a:cubicBezTo>
                <a:cubicBezTo>
                  <a:pt x="6205466" y="4516209"/>
                  <a:pt x="6216183" y="4588729"/>
                  <a:pt x="6216810" y="4651172"/>
                </a:cubicBezTo>
                <a:cubicBezTo>
                  <a:pt x="6217673" y="4756959"/>
                  <a:pt x="6228654" y="4824005"/>
                  <a:pt x="6225945" y="4916779"/>
                </a:cubicBezTo>
                <a:cubicBezTo>
                  <a:pt x="6217032" y="4993010"/>
                  <a:pt x="6264271" y="4984591"/>
                  <a:pt x="6230174" y="5051379"/>
                </a:cubicBezTo>
                <a:cubicBezTo>
                  <a:pt x="6235713" y="5056951"/>
                  <a:pt x="6239420" y="5163714"/>
                  <a:pt x="6242600" y="5170879"/>
                </a:cubicBezTo>
                <a:lnTo>
                  <a:pt x="6235996" y="5216428"/>
                </a:lnTo>
                <a:lnTo>
                  <a:pt x="6214638" y="5285298"/>
                </a:lnTo>
                <a:cubicBezTo>
                  <a:pt x="6211392" y="5297492"/>
                  <a:pt x="6225576" y="5312063"/>
                  <a:pt x="6228432" y="5317696"/>
                </a:cubicBezTo>
                <a:lnTo>
                  <a:pt x="6246496" y="5398787"/>
                </a:lnTo>
                <a:lnTo>
                  <a:pt x="6244793" y="5399530"/>
                </a:lnTo>
                <a:lnTo>
                  <a:pt x="6241695" y="5406948"/>
                </a:lnTo>
                <a:lnTo>
                  <a:pt x="6267461" y="5499413"/>
                </a:lnTo>
                <a:cubicBezTo>
                  <a:pt x="6285387" y="5533848"/>
                  <a:pt x="6284888" y="5550029"/>
                  <a:pt x="6295987" y="5582659"/>
                </a:cubicBezTo>
                <a:cubicBezTo>
                  <a:pt x="6311253" y="5681724"/>
                  <a:pt x="6295439" y="5695558"/>
                  <a:pt x="6364803" y="5784263"/>
                </a:cubicBezTo>
                <a:cubicBezTo>
                  <a:pt x="6379348" y="5818651"/>
                  <a:pt x="6412475" y="5906802"/>
                  <a:pt x="6423050" y="5922637"/>
                </a:cubicBezTo>
                <a:cubicBezTo>
                  <a:pt x="6445210" y="5973612"/>
                  <a:pt x="6468179" y="6023873"/>
                  <a:pt x="6497767" y="6090108"/>
                </a:cubicBezTo>
                <a:cubicBezTo>
                  <a:pt x="6571895" y="6150548"/>
                  <a:pt x="6572491" y="6236583"/>
                  <a:pt x="6606710" y="6281543"/>
                </a:cubicBezTo>
                <a:cubicBezTo>
                  <a:pt x="6633675" y="6335892"/>
                  <a:pt x="6654357" y="6388782"/>
                  <a:pt x="6667540" y="6443715"/>
                </a:cubicBezTo>
                <a:cubicBezTo>
                  <a:pt x="6685192" y="6466826"/>
                  <a:pt x="6650500" y="6508701"/>
                  <a:pt x="6659722" y="6550105"/>
                </a:cubicBezTo>
                <a:cubicBezTo>
                  <a:pt x="6665926" y="6645044"/>
                  <a:pt x="6669126" y="6627536"/>
                  <a:pt x="6671805" y="6687397"/>
                </a:cubicBezTo>
                <a:cubicBezTo>
                  <a:pt x="6682671" y="6733683"/>
                  <a:pt x="6665210" y="6772117"/>
                  <a:pt x="6669658" y="6806602"/>
                </a:cubicBezTo>
                <a:cubicBezTo>
                  <a:pt x="6661174" y="6812658"/>
                  <a:pt x="6667097" y="6831470"/>
                  <a:pt x="6675783" y="6850325"/>
                </a:cubicBezTo>
                <a:lnTo>
                  <a:pt x="6679704" y="6858000"/>
                </a:lnTo>
                <a:lnTo>
                  <a:pt x="4532241" y="6858000"/>
                </a:lnTo>
                <a:lnTo>
                  <a:pt x="120859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7320465" y="2194102"/>
            <a:ext cx="4140013" cy="39085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Les </a:t>
            </a:r>
            <a:r>
              <a:rPr lang="en-US" sz="4000" dirty="0" err="1"/>
              <a:t>écritures</a:t>
            </a:r>
            <a:endParaRPr lang="en-US" sz="4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4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Cas pratiques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4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Vente1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378195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644713-AF21-4543-94FE-A96FEBAA2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96536"/>
          </a:xfrm>
        </p:spPr>
        <p:txBody>
          <a:bodyPr/>
          <a:lstStyle/>
          <a:p>
            <a:r>
              <a:rPr lang="fr-FR" dirty="0"/>
              <a:t>Factures 05/04 – 08/04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F2815B00-360C-44B8-B762-E288FAA7878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15991774"/>
              </p:ext>
            </p:extLst>
          </p:nvPr>
        </p:nvGraphicFramePr>
        <p:xfrm>
          <a:off x="152400" y="1522647"/>
          <a:ext cx="6079433" cy="5235958"/>
        </p:xfrm>
        <a:graphic>
          <a:graphicData uri="http://schemas.openxmlformats.org/drawingml/2006/table">
            <a:tbl>
              <a:tblPr/>
              <a:tblGrid>
                <a:gridCol w="1197590">
                  <a:extLst>
                    <a:ext uri="{9D8B030D-6E8A-4147-A177-3AD203B41FA5}">
                      <a16:colId xmlns:a16="http://schemas.microsoft.com/office/drawing/2014/main" val="3219355933"/>
                    </a:ext>
                  </a:extLst>
                </a:gridCol>
                <a:gridCol w="1197590">
                  <a:extLst>
                    <a:ext uri="{9D8B030D-6E8A-4147-A177-3AD203B41FA5}">
                      <a16:colId xmlns:a16="http://schemas.microsoft.com/office/drawing/2014/main" val="771949295"/>
                    </a:ext>
                  </a:extLst>
                </a:gridCol>
                <a:gridCol w="91483">
                  <a:extLst>
                    <a:ext uri="{9D8B030D-6E8A-4147-A177-3AD203B41FA5}">
                      <a16:colId xmlns:a16="http://schemas.microsoft.com/office/drawing/2014/main" val="2527452275"/>
                    </a:ext>
                  </a:extLst>
                </a:gridCol>
                <a:gridCol w="1197590">
                  <a:extLst>
                    <a:ext uri="{9D8B030D-6E8A-4147-A177-3AD203B41FA5}">
                      <a16:colId xmlns:a16="http://schemas.microsoft.com/office/drawing/2014/main" val="476251583"/>
                    </a:ext>
                  </a:extLst>
                </a:gridCol>
                <a:gridCol w="1197590">
                  <a:extLst>
                    <a:ext uri="{9D8B030D-6E8A-4147-A177-3AD203B41FA5}">
                      <a16:colId xmlns:a16="http://schemas.microsoft.com/office/drawing/2014/main" val="2506286777"/>
                    </a:ext>
                  </a:extLst>
                </a:gridCol>
                <a:gridCol w="1197590">
                  <a:extLst>
                    <a:ext uri="{9D8B030D-6E8A-4147-A177-3AD203B41FA5}">
                      <a16:colId xmlns:a16="http://schemas.microsoft.com/office/drawing/2014/main" val="4206572938"/>
                    </a:ext>
                  </a:extLst>
                </a:gridCol>
              </a:tblGrid>
              <a:tr h="373997">
                <a:tc gridSpan="3">
                  <a:txBody>
                    <a:bodyPr/>
                    <a:lstStyle/>
                    <a:p>
                      <a:pPr algn="ctr"/>
                      <a:r>
                        <a:rPr lang="fr-FR" sz="11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HIGH</a:t>
                      </a:r>
                      <a:endParaRPr lang="fr-FR" sz="10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0380086"/>
                  </a:ext>
                </a:extLst>
              </a:tr>
              <a:tr h="373997"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 : 05/04/N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7353327"/>
                  </a:ext>
                </a:extLst>
              </a:tr>
              <a:tr h="373997">
                <a:tc gridSpan="3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FOU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2325911"/>
                  </a:ext>
                </a:extLst>
              </a:tr>
              <a:tr h="373997">
                <a:tc gridSpan="3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cture Doit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011434"/>
                  </a:ext>
                </a:extLst>
              </a:tr>
              <a:tr h="373997">
                <a:tc gridSpan="3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ésignation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Quantité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ix unitaire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ntant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2825212"/>
                  </a:ext>
                </a:extLst>
              </a:tr>
              <a:tr h="373997">
                <a:tc gridSpan="3"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 090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080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75303"/>
                  </a:ext>
                </a:extLst>
              </a:tr>
              <a:tr h="373997">
                <a:tc gridSpan="3"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Remise 15%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3 762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0888286"/>
                  </a:ext>
                </a:extLst>
              </a:tr>
              <a:tr h="373997">
                <a:tc gridSpan="3"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2548064"/>
                  </a:ext>
                </a:extLst>
              </a:tr>
              <a:tr h="373997">
                <a:tc gridSpan="3"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commercial = Net H.T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 318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1605665"/>
                  </a:ext>
                </a:extLst>
              </a:tr>
              <a:tr h="373997">
                <a:tc gridSpan="3"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1224592"/>
                  </a:ext>
                </a:extLst>
              </a:tr>
              <a:tr h="373997">
                <a:tc gridSpan="3"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T.V.A 20 %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4 263,6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7226350"/>
                  </a:ext>
                </a:extLst>
              </a:tr>
              <a:tr h="373997">
                <a:tc gridSpan="3"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3009815"/>
                  </a:ext>
                </a:extLst>
              </a:tr>
              <a:tr h="373997">
                <a:tc gridSpan="3"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T.T.C à payer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 581,6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281669"/>
                  </a:ext>
                </a:extLst>
              </a:tr>
              <a:tr h="373997"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iement à 30 jours fin de mois</a:t>
                      </a:r>
                      <a:endParaRPr lang="fr-FR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0764068"/>
                  </a:ext>
                </a:extLst>
              </a:tr>
            </a:tbl>
          </a:graphicData>
        </a:graphic>
      </p:graphicFrame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7D46C06A-F446-4379-B147-3AA7F8596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2019186"/>
              </p:ext>
            </p:extLst>
          </p:nvPr>
        </p:nvGraphicFramePr>
        <p:xfrm>
          <a:off x="6400800" y="1522647"/>
          <a:ext cx="5638801" cy="5335354"/>
        </p:xfrm>
        <a:graphic>
          <a:graphicData uri="http://schemas.openxmlformats.org/drawingml/2006/table">
            <a:tbl>
              <a:tblPr/>
              <a:tblGrid>
                <a:gridCol w="1858374">
                  <a:extLst>
                    <a:ext uri="{9D8B030D-6E8A-4147-A177-3AD203B41FA5}">
                      <a16:colId xmlns:a16="http://schemas.microsoft.com/office/drawing/2014/main" val="1794412211"/>
                    </a:ext>
                  </a:extLst>
                </a:gridCol>
                <a:gridCol w="400030">
                  <a:extLst>
                    <a:ext uri="{9D8B030D-6E8A-4147-A177-3AD203B41FA5}">
                      <a16:colId xmlns:a16="http://schemas.microsoft.com/office/drawing/2014/main" val="1237561035"/>
                    </a:ext>
                  </a:extLst>
                </a:gridCol>
                <a:gridCol w="400030">
                  <a:extLst>
                    <a:ext uri="{9D8B030D-6E8A-4147-A177-3AD203B41FA5}">
                      <a16:colId xmlns:a16="http://schemas.microsoft.com/office/drawing/2014/main" val="2671568619"/>
                    </a:ext>
                  </a:extLst>
                </a:gridCol>
                <a:gridCol w="400030">
                  <a:extLst>
                    <a:ext uri="{9D8B030D-6E8A-4147-A177-3AD203B41FA5}">
                      <a16:colId xmlns:a16="http://schemas.microsoft.com/office/drawing/2014/main" val="2449046084"/>
                    </a:ext>
                  </a:extLst>
                </a:gridCol>
                <a:gridCol w="400030">
                  <a:extLst>
                    <a:ext uri="{9D8B030D-6E8A-4147-A177-3AD203B41FA5}">
                      <a16:colId xmlns:a16="http://schemas.microsoft.com/office/drawing/2014/main" val="1644683726"/>
                    </a:ext>
                  </a:extLst>
                </a:gridCol>
                <a:gridCol w="400030">
                  <a:extLst>
                    <a:ext uri="{9D8B030D-6E8A-4147-A177-3AD203B41FA5}">
                      <a16:colId xmlns:a16="http://schemas.microsoft.com/office/drawing/2014/main" val="2614973419"/>
                    </a:ext>
                  </a:extLst>
                </a:gridCol>
                <a:gridCol w="400030">
                  <a:extLst>
                    <a:ext uri="{9D8B030D-6E8A-4147-A177-3AD203B41FA5}">
                      <a16:colId xmlns:a16="http://schemas.microsoft.com/office/drawing/2014/main" val="1990581449"/>
                    </a:ext>
                  </a:extLst>
                </a:gridCol>
                <a:gridCol w="1380247">
                  <a:extLst>
                    <a:ext uri="{9D8B030D-6E8A-4147-A177-3AD203B41FA5}">
                      <a16:colId xmlns:a16="http://schemas.microsoft.com/office/drawing/2014/main" val="958074543"/>
                    </a:ext>
                  </a:extLst>
                </a:gridCol>
              </a:tblGrid>
              <a:tr h="345758">
                <a:tc>
                  <a:txBody>
                    <a:bodyPr/>
                    <a:lstStyle/>
                    <a:p>
                      <a:pPr algn="l"/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HIGH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0519496"/>
                  </a:ext>
                </a:extLst>
              </a:tr>
              <a:tr h="345758">
                <a:tc gridSpan="8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 : 08/04/N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7196221"/>
                  </a:ext>
                </a:extLst>
              </a:tr>
              <a:tr h="345758"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1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11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SUN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6647394"/>
                  </a:ext>
                </a:extLst>
              </a:tr>
              <a:tr h="345758">
                <a:tc gridSpan="8"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cture Doit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3977497"/>
                  </a:ext>
                </a:extLst>
              </a:tr>
              <a:tr h="494742"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ésignation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Quantité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ix unitaire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ntant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1362277"/>
                  </a:ext>
                </a:extLst>
              </a:tr>
              <a:tr h="345758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20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 800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4929287"/>
                  </a:ext>
                </a:extLst>
              </a:tr>
              <a:tr h="345758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Rabais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150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2229669"/>
                  </a:ext>
                </a:extLst>
              </a:tr>
              <a:tr h="345758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7129433"/>
                  </a:ext>
                </a:extLst>
              </a:tr>
              <a:tr h="345758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lde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 650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8398631"/>
                  </a:ext>
                </a:extLst>
              </a:tr>
              <a:tr h="345758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Remise 10%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465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123997"/>
                  </a:ext>
                </a:extLst>
              </a:tr>
              <a:tr h="345758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0396417"/>
                  </a:ext>
                </a:extLst>
              </a:tr>
              <a:tr h="345758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commercial = Net H.T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 185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405653"/>
                  </a:ext>
                </a:extLst>
              </a:tr>
              <a:tr h="345758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T.V.A 20 %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837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6610967"/>
                  </a:ext>
                </a:extLst>
              </a:tr>
              <a:tr h="345758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4334929"/>
                  </a:ext>
                </a:extLst>
              </a:tr>
              <a:tr h="345758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T.T.C à payer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 022,00</a:t>
                      </a:r>
                      <a:endParaRPr lang="fr-FR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93563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818232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644713-AF21-4543-94FE-A96FEBAA2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96536"/>
          </a:xfrm>
        </p:spPr>
        <p:txBody>
          <a:bodyPr/>
          <a:lstStyle/>
          <a:p>
            <a:r>
              <a:rPr lang="fr-FR" dirty="0"/>
              <a:t>Factures avril – 10 au 24 / avril </a:t>
            </a:r>
          </a:p>
        </p:txBody>
      </p:sp>
      <p:graphicFrame>
        <p:nvGraphicFramePr>
          <p:cNvPr id="5" name="Espace réservé du contenu 4">
            <a:extLst>
              <a:ext uri="{FF2B5EF4-FFF2-40B4-BE49-F238E27FC236}">
                <a16:creationId xmlns:a16="http://schemas.microsoft.com/office/drawing/2014/main" id="{E3D353A5-D217-4E5D-9E6B-6FBB1EE8BFA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53821596"/>
              </p:ext>
            </p:extLst>
          </p:nvPr>
        </p:nvGraphicFramePr>
        <p:xfrm>
          <a:off x="174321" y="1361661"/>
          <a:ext cx="3647662" cy="3644179"/>
        </p:xfrm>
        <a:graphic>
          <a:graphicData uri="http://schemas.openxmlformats.org/drawingml/2006/table">
            <a:tbl>
              <a:tblPr/>
              <a:tblGrid>
                <a:gridCol w="1640354">
                  <a:extLst>
                    <a:ext uri="{9D8B030D-6E8A-4147-A177-3AD203B41FA5}">
                      <a16:colId xmlns:a16="http://schemas.microsoft.com/office/drawing/2014/main" val="1950225093"/>
                    </a:ext>
                  </a:extLst>
                </a:gridCol>
                <a:gridCol w="899765">
                  <a:extLst>
                    <a:ext uri="{9D8B030D-6E8A-4147-A177-3AD203B41FA5}">
                      <a16:colId xmlns:a16="http://schemas.microsoft.com/office/drawing/2014/main" val="3062782495"/>
                    </a:ext>
                  </a:extLst>
                </a:gridCol>
                <a:gridCol w="1107543">
                  <a:extLst>
                    <a:ext uri="{9D8B030D-6E8A-4147-A177-3AD203B41FA5}">
                      <a16:colId xmlns:a16="http://schemas.microsoft.com/office/drawing/2014/main" val="1237869799"/>
                    </a:ext>
                  </a:extLst>
                </a:gridCol>
              </a:tblGrid>
              <a:tr h="331289">
                <a:tc>
                  <a:txBody>
                    <a:bodyPr/>
                    <a:lstStyle/>
                    <a:p>
                      <a:pPr algn="l"/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HIGH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4084080"/>
                  </a:ext>
                </a:extLst>
              </a:tr>
              <a:tr h="331289">
                <a:tc gridSpan="3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 : 10/04/N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8506374"/>
                  </a:ext>
                </a:extLst>
              </a:tr>
              <a:tr h="331289"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MOX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9385476"/>
                  </a:ext>
                </a:extLst>
              </a:tr>
              <a:tr h="331289">
                <a:tc gridSpan="3"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cture Doit F1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1500382"/>
                  </a:ext>
                </a:extLst>
              </a:tr>
              <a:tr h="331289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 (1)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lvl="0" indent="-342900" algn="r">
                        <a:buFont typeface="+mj-lt"/>
                        <a:buAutoNum type="arabicPeriod" startAt="9"/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0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4002964"/>
                  </a:ext>
                </a:extLst>
              </a:tr>
              <a:tr h="331289">
                <a:tc gridSpan="2">
                  <a:txBody>
                    <a:bodyPr/>
                    <a:lstStyle/>
                    <a:p>
                      <a:pPr marL="342900" lvl="0" indent="-342900" algn="l">
                        <a:buFont typeface="Calibri" panose="020F0502020204030204" pitchFamily="34" charset="0"/>
                        <a:buChar char="-"/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Remise selon conditions 20 %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830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2416523"/>
                  </a:ext>
                </a:extLst>
              </a:tr>
              <a:tr h="331289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9814108"/>
                  </a:ext>
                </a:extLst>
              </a:tr>
              <a:tr h="331289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H.T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 320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8982357"/>
                  </a:ext>
                </a:extLst>
              </a:tr>
              <a:tr h="331289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T.V.A 20%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464 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9457276"/>
                  </a:ext>
                </a:extLst>
              </a:tr>
              <a:tr h="331289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1972780"/>
                  </a:ext>
                </a:extLst>
              </a:tr>
              <a:tr h="331289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T.T.C à payer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 784,00</a:t>
                      </a:r>
                      <a:endParaRPr lang="fr-FR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3015691"/>
                  </a:ext>
                </a:extLst>
              </a:tr>
            </a:tbl>
          </a:graphicData>
        </a:graphic>
      </p:graphicFrame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E85F6702-FDE4-47A0-9113-8DC4311CF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2205823"/>
              </p:ext>
            </p:extLst>
          </p:nvPr>
        </p:nvGraphicFramePr>
        <p:xfrm>
          <a:off x="4002916" y="1381537"/>
          <a:ext cx="4186168" cy="3624302"/>
        </p:xfrm>
        <a:graphic>
          <a:graphicData uri="http://schemas.openxmlformats.org/drawingml/2006/table">
            <a:tbl>
              <a:tblPr/>
              <a:tblGrid>
                <a:gridCol w="1712263">
                  <a:extLst>
                    <a:ext uri="{9D8B030D-6E8A-4147-A177-3AD203B41FA5}">
                      <a16:colId xmlns:a16="http://schemas.microsoft.com/office/drawing/2014/main" val="4146580793"/>
                    </a:ext>
                  </a:extLst>
                </a:gridCol>
                <a:gridCol w="824635">
                  <a:extLst>
                    <a:ext uri="{9D8B030D-6E8A-4147-A177-3AD203B41FA5}">
                      <a16:colId xmlns:a16="http://schemas.microsoft.com/office/drawing/2014/main" val="1224566599"/>
                    </a:ext>
                  </a:extLst>
                </a:gridCol>
                <a:gridCol w="824635">
                  <a:extLst>
                    <a:ext uri="{9D8B030D-6E8A-4147-A177-3AD203B41FA5}">
                      <a16:colId xmlns:a16="http://schemas.microsoft.com/office/drawing/2014/main" val="676885877"/>
                    </a:ext>
                  </a:extLst>
                </a:gridCol>
                <a:gridCol w="824635">
                  <a:extLst>
                    <a:ext uri="{9D8B030D-6E8A-4147-A177-3AD203B41FA5}">
                      <a16:colId xmlns:a16="http://schemas.microsoft.com/office/drawing/2014/main" val="1855725688"/>
                    </a:ext>
                  </a:extLst>
                </a:gridCol>
              </a:tblGrid>
              <a:tr h="299002">
                <a:tc>
                  <a:txBody>
                    <a:bodyPr/>
                    <a:lstStyle/>
                    <a:p>
                      <a:pPr algn="ctr"/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HIGH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540072"/>
                  </a:ext>
                </a:extLst>
              </a:tr>
              <a:tr h="299002">
                <a:tc gridSpan="4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 : 12/04/N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0747464"/>
                  </a:ext>
                </a:extLst>
              </a:tr>
              <a:tr h="299002"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FOU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9255561"/>
                  </a:ext>
                </a:extLst>
              </a:tr>
              <a:tr h="299002"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oir A00412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2666180"/>
                  </a:ext>
                </a:extLst>
              </a:tr>
              <a:tr h="299002"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ésignation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Quantité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ix unitaire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ntant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4589340"/>
                  </a:ext>
                </a:extLst>
              </a:tr>
              <a:tr h="299002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 (1 * 2 090,00)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 090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 090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286226"/>
                  </a:ext>
                </a:extLst>
              </a:tr>
              <a:tr h="299002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Remise 15%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313,5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51410"/>
                  </a:ext>
                </a:extLst>
              </a:tr>
              <a:tr h="299002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9370599"/>
                  </a:ext>
                </a:extLst>
              </a:tr>
              <a:tr h="299002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commercial = Net H.T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776,5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5715473"/>
                  </a:ext>
                </a:extLst>
              </a:tr>
              <a:tr h="299002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T.V.A 20 %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355,3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0423608"/>
                  </a:ext>
                </a:extLst>
              </a:tr>
              <a:tr h="299002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2668863"/>
                  </a:ext>
                </a:extLst>
              </a:tr>
              <a:tr h="299002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T.T.C en votre faveur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31,80</a:t>
                      </a:r>
                      <a:endParaRPr lang="fr-FR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929674"/>
                  </a:ext>
                </a:extLst>
              </a:tr>
            </a:tbl>
          </a:graphicData>
        </a:graphic>
      </p:graphicFrame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39C88741-5267-4FA2-AA52-932B0634D1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2217117"/>
              </p:ext>
            </p:extLst>
          </p:nvPr>
        </p:nvGraphicFramePr>
        <p:xfrm>
          <a:off x="8370018" y="1381537"/>
          <a:ext cx="3647661" cy="3624302"/>
        </p:xfrm>
        <a:graphic>
          <a:graphicData uri="http://schemas.openxmlformats.org/drawingml/2006/table">
            <a:tbl>
              <a:tblPr/>
              <a:tblGrid>
                <a:gridCol w="2106248">
                  <a:extLst>
                    <a:ext uri="{9D8B030D-6E8A-4147-A177-3AD203B41FA5}">
                      <a16:colId xmlns:a16="http://schemas.microsoft.com/office/drawing/2014/main" val="4181722042"/>
                    </a:ext>
                  </a:extLst>
                </a:gridCol>
                <a:gridCol w="325249">
                  <a:extLst>
                    <a:ext uri="{9D8B030D-6E8A-4147-A177-3AD203B41FA5}">
                      <a16:colId xmlns:a16="http://schemas.microsoft.com/office/drawing/2014/main" val="2983734681"/>
                    </a:ext>
                  </a:extLst>
                </a:gridCol>
                <a:gridCol w="1216164">
                  <a:extLst>
                    <a:ext uri="{9D8B030D-6E8A-4147-A177-3AD203B41FA5}">
                      <a16:colId xmlns:a16="http://schemas.microsoft.com/office/drawing/2014/main" val="3700514577"/>
                    </a:ext>
                  </a:extLst>
                </a:gridCol>
              </a:tblGrid>
              <a:tr h="329482">
                <a:tc>
                  <a:txBody>
                    <a:bodyPr/>
                    <a:lstStyle/>
                    <a:p>
                      <a:pPr algn="l"/>
                      <a:r>
                        <a:rPr lang="fr-FR" sz="11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HIGH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7840308"/>
                  </a:ext>
                </a:extLst>
              </a:tr>
              <a:tr h="329482">
                <a:tc gridSpan="3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 : 24/04/N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9206700"/>
                  </a:ext>
                </a:extLst>
              </a:tr>
              <a:tr h="329482">
                <a:tc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11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MOX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2376841"/>
                  </a:ext>
                </a:extLst>
              </a:tr>
              <a:tr h="329482">
                <a:tc gridSpan="3">
                  <a:txBody>
                    <a:bodyPr/>
                    <a:lstStyle/>
                    <a:p>
                      <a:pPr algn="ctr"/>
                      <a:r>
                        <a:rPr lang="fr-FR" sz="11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cture Doit F2</a:t>
                      </a:r>
                      <a:endParaRPr lang="fr-FR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2090318"/>
                  </a:ext>
                </a:extLst>
              </a:tr>
              <a:tr h="329482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 (2)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lvl="0" indent="-342900" algn="r">
                        <a:buFont typeface="+mj-lt"/>
                        <a:buAutoNum type="arabicPeriod" startAt="2"/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25,00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7653159"/>
                  </a:ext>
                </a:extLst>
              </a:tr>
              <a:tr h="329482">
                <a:tc gridSpan="2">
                  <a:txBody>
                    <a:bodyPr/>
                    <a:lstStyle/>
                    <a:p>
                      <a:pPr algn="l"/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Remise selon conditions 25 %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31,25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9031688"/>
                  </a:ext>
                </a:extLst>
              </a:tr>
              <a:tr h="329482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2858182"/>
                  </a:ext>
                </a:extLst>
              </a:tr>
              <a:tr h="329482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H.T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 193,75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831949"/>
                  </a:ext>
                </a:extLst>
              </a:tr>
              <a:tr h="329482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T.V.A 20 %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38,75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1247448"/>
                  </a:ext>
                </a:extLst>
              </a:tr>
              <a:tr h="329482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9765429"/>
                  </a:ext>
                </a:extLst>
              </a:tr>
              <a:tr h="329482">
                <a:tc gridSpan="2"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T.T.C à payer</a:t>
                      </a:r>
                      <a:endParaRPr lang="fr-FR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 632,50</a:t>
                      </a:r>
                      <a:endParaRPr lang="fr-FR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9946680"/>
                  </a:ext>
                </a:extLst>
              </a:tr>
            </a:tbl>
          </a:graphicData>
        </a:graphic>
      </p:graphicFrame>
      <p:sp>
        <p:nvSpPr>
          <p:cNvPr id="11" name="ZoneTexte 10">
            <a:extLst>
              <a:ext uri="{FF2B5EF4-FFF2-40B4-BE49-F238E27FC236}">
                <a16:creationId xmlns:a16="http://schemas.microsoft.com/office/drawing/2014/main" id="{0CD87A97-CB5C-4428-866E-41CD9018796B}"/>
              </a:ext>
            </a:extLst>
          </p:cNvPr>
          <p:cNvSpPr txBox="1"/>
          <p:nvPr/>
        </p:nvSpPr>
        <p:spPr>
          <a:xfrm>
            <a:off x="174321" y="5496339"/>
            <a:ext cx="609765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buFont typeface="+mj-lt"/>
              <a:buAutoNum type="arabicParenBoth"/>
            </a:pPr>
            <a:r>
              <a:rPr lang="fr-FR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12*75 + 12*175 + 5*850 + 50*20 + 2*450 = 9 150 € HT</a:t>
            </a:r>
            <a:endParaRPr lang="fr-FR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84710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Espace réservé du contenu 8">
            <a:extLst>
              <a:ext uri="{FF2B5EF4-FFF2-40B4-BE49-F238E27FC236}">
                <a16:creationId xmlns:a16="http://schemas.microsoft.com/office/drawing/2014/main" id="{6435B9A9-5D3A-475B-822D-7D0FAE516D7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2350670"/>
              </p:ext>
            </p:extLst>
          </p:nvPr>
        </p:nvGraphicFramePr>
        <p:xfrm>
          <a:off x="407503" y="191995"/>
          <a:ext cx="11529387" cy="6530902"/>
        </p:xfrm>
        <a:graphic>
          <a:graphicData uri="http://schemas.openxmlformats.org/drawingml/2006/table">
            <a:tbl>
              <a:tblPr/>
              <a:tblGrid>
                <a:gridCol w="2295940">
                  <a:extLst>
                    <a:ext uri="{9D8B030D-6E8A-4147-A177-3AD203B41FA5}">
                      <a16:colId xmlns:a16="http://schemas.microsoft.com/office/drawing/2014/main" val="763732846"/>
                    </a:ext>
                  </a:extLst>
                </a:gridCol>
                <a:gridCol w="1368623">
                  <a:extLst>
                    <a:ext uri="{9D8B030D-6E8A-4147-A177-3AD203B41FA5}">
                      <a16:colId xmlns:a16="http://schemas.microsoft.com/office/drawing/2014/main" val="27476838"/>
                    </a:ext>
                  </a:extLst>
                </a:gridCol>
                <a:gridCol w="260738">
                  <a:extLst>
                    <a:ext uri="{9D8B030D-6E8A-4147-A177-3AD203B41FA5}">
                      <a16:colId xmlns:a16="http://schemas.microsoft.com/office/drawing/2014/main" val="2974849288"/>
                    </a:ext>
                  </a:extLst>
                </a:gridCol>
                <a:gridCol w="260738">
                  <a:extLst>
                    <a:ext uri="{9D8B030D-6E8A-4147-A177-3AD203B41FA5}">
                      <a16:colId xmlns:a16="http://schemas.microsoft.com/office/drawing/2014/main" val="1741559436"/>
                    </a:ext>
                  </a:extLst>
                </a:gridCol>
                <a:gridCol w="260738">
                  <a:extLst>
                    <a:ext uri="{9D8B030D-6E8A-4147-A177-3AD203B41FA5}">
                      <a16:colId xmlns:a16="http://schemas.microsoft.com/office/drawing/2014/main" val="3825039463"/>
                    </a:ext>
                  </a:extLst>
                </a:gridCol>
                <a:gridCol w="260738">
                  <a:extLst>
                    <a:ext uri="{9D8B030D-6E8A-4147-A177-3AD203B41FA5}">
                      <a16:colId xmlns:a16="http://schemas.microsoft.com/office/drawing/2014/main" val="4141073211"/>
                    </a:ext>
                  </a:extLst>
                </a:gridCol>
                <a:gridCol w="260738">
                  <a:extLst>
                    <a:ext uri="{9D8B030D-6E8A-4147-A177-3AD203B41FA5}">
                      <a16:colId xmlns:a16="http://schemas.microsoft.com/office/drawing/2014/main" val="931390986"/>
                    </a:ext>
                  </a:extLst>
                </a:gridCol>
                <a:gridCol w="260738">
                  <a:extLst>
                    <a:ext uri="{9D8B030D-6E8A-4147-A177-3AD203B41FA5}">
                      <a16:colId xmlns:a16="http://schemas.microsoft.com/office/drawing/2014/main" val="966219436"/>
                    </a:ext>
                  </a:extLst>
                </a:gridCol>
                <a:gridCol w="260738">
                  <a:extLst>
                    <a:ext uri="{9D8B030D-6E8A-4147-A177-3AD203B41FA5}">
                      <a16:colId xmlns:a16="http://schemas.microsoft.com/office/drawing/2014/main" val="821127690"/>
                    </a:ext>
                  </a:extLst>
                </a:gridCol>
                <a:gridCol w="712289">
                  <a:extLst>
                    <a:ext uri="{9D8B030D-6E8A-4147-A177-3AD203B41FA5}">
                      <a16:colId xmlns:a16="http://schemas.microsoft.com/office/drawing/2014/main" val="4278775609"/>
                    </a:ext>
                  </a:extLst>
                </a:gridCol>
                <a:gridCol w="2981739">
                  <a:extLst>
                    <a:ext uri="{9D8B030D-6E8A-4147-A177-3AD203B41FA5}">
                      <a16:colId xmlns:a16="http://schemas.microsoft.com/office/drawing/2014/main" val="581648808"/>
                    </a:ext>
                  </a:extLst>
                </a:gridCol>
                <a:gridCol w="2345630">
                  <a:extLst>
                    <a:ext uri="{9D8B030D-6E8A-4147-A177-3AD203B41FA5}">
                      <a16:colId xmlns:a16="http://schemas.microsoft.com/office/drawing/2014/main" val="4085943532"/>
                    </a:ext>
                  </a:extLst>
                </a:gridCol>
              </a:tblGrid>
              <a:tr h="156467">
                <a:tc>
                  <a:txBody>
                    <a:bodyPr/>
                    <a:lstStyle/>
                    <a:p>
                      <a:r>
                        <a:rPr lang="fr-FR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fr-FR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1047080"/>
                  </a:ext>
                </a:extLst>
              </a:tr>
              <a:tr h="156467">
                <a:tc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8">
                  <a:txBody>
                    <a:bodyPr/>
                    <a:lstStyle/>
                    <a:p>
                      <a:pPr algn="ctr"/>
                      <a:r>
                        <a:rPr lang="fr-FR" sz="16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5/04/N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1170959"/>
                  </a:ext>
                </a:extLst>
              </a:tr>
              <a:tr h="312935">
                <a:tc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1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6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ient C FOU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 581,60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4855584"/>
                  </a:ext>
                </a:extLst>
              </a:tr>
              <a:tr h="469401"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71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8">
                  <a:txBody>
                    <a:bodyPr/>
                    <a:lstStyle/>
                    <a:p>
                      <a:r>
                        <a:rPr lang="fr-FR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T.V.A collectée</a:t>
                      </a:r>
                      <a:endParaRPr lang="fr-FR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 263,60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9487738"/>
                  </a:ext>
                </a:extLst>
              </a:tr>
              <a:tr h="469401"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707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8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Vente de marchandises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 318,00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0598247"/>
                  </a:ext>
                </a:extLst>
              </a:tr>
              <a:tr h="156467">
                <a:tc>
                  <a:txBody>
                    <a:bodyPr/>
                    <a:lstStyle/>
                    <a:p>
                      <a:pPr algn="ct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8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cture N°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5167002"/>
                  </a:ext>
                </a:extLst>
              </a:tr>
              <a:tr h="156467">
                <a:tc>
                  <a:txBody>
                    <a:bodyPr/>
                    <a:lstStyle/>
                    <a:p>
                      <a:pPr algn="ct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5855331"/>
                  </a:ext>
                </a:extLst>
              </a:tr>
              <a:tr h="156467">
                <a:tc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/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0049709"/>
                  </a:ext>
                </a:extLst>
              </a:tr>
              <a:tr h="156467">
                <a:tc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/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fr-FR" sz="16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8/04/N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998196"/>
                  </a:ext>
                </a:extLst>
              </a:tr>
              <a:tr h="312935">
                <a:tc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1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dirty="0"/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6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ient C SUN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 022,00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006834"/>
                  </a:ext>
                </a:extLst>
              </a:tr>
              <a:tr h="469401"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71</a:t>
                      </a:r>
                      <a:endParaRPr lang="fr-FR"/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7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T.V.A collectée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37,00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8625"/>
                  </a:ext>
                </a:extLst>
              </a:tr>
              <a:tr h="469401"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707</a:t>
                      </a:r>
                      <a:endParaRPr lang="fr-FR"/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7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Vente de marchandises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 185,00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3211113"/>
                  </a:ext>
                </a:extLst>
              </a:tr>
              <a:tr h="156467">
                <a:tc>
                  <a:txBody>
                    <a:bodyPr/>
                    <a:lstStyle/>
                    <a:p>
                      <a:pPr algn="ct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/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7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cture N°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1072828"/>
                  </a:ext>
                </a:extLst>
              </a:tr>
              <a:tr h="156467">
                <a:tc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/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2494032"/>
                  </a:ext>
                </a:extLst>
              </a:tr>
              <a:tr h="156467">
                <a:tc>
                  <a:txBody>
                    <a:bodyPr/>
                    <a:lstStyle/>
                    <a:p>
                      <a:pPr algn="ct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/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5509701"/>
                  </a:ext>
                </a:extLst>
              </a:tr>
              <a:tr h="156467">
                <a:tc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/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fr-FR" sz="16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/04/N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761524"/>
                  </a:ext>
                </a:extLst>
              </a:tr>
              <a:tr h="312935">
                <a:tc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1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/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6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ient C MOX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 784,00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838844"/>
                  </a:ext>
                </a:extLst>
              </a:tr>
              <a:tr h="469401"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71</a:t>
                      </a:r>
                      <a:endParaRPr lang="fr-FR"/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7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T.V.A collectée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464 ,00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2588277"/>
                  </a:ext>
                </a:extLst>
              </a:tr>
              <a:tr h="469401"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707</a:t>
                      </a:r>
                      <a:endParaRPr lang="fr-FR"/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7">
                  <a:txBody>
                    <a:bodyPr/>
                    <a:lstStyle/>
                    <a:p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Vente de marchandises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 320 ,00</a:t>
                      </a:r>
                      <a:endParaRPr lang="fr-FR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2874009"/>
                  </a:ext>
                </a:extLst>
              </a:tr>
              <a:tr h="156467"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/>
                    </a:p>
                  </a:txBody>
                  <a:tcPr marL="32049" marR="3204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7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cture N°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1169293"/>
                  </a:ext>
                </a:extLst>
              </a:tr>
              <a:tr h="156467"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dirty="0"/>
                    </a:p>
                  </a:txBody>
                  <a:tcPr marL="32049" marR="32049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fr-FR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049" marR="32049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24717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32620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32AEEBC8-9D30-42EF-95F2-386C2653FB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3529E97A-97C3-40EA-8A04-5C02398D56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2877832"/>
          </a:xfrm>
          <a:custGeom>
            <a:avLst/>
            <a:gdLst>
              <a:gd name="connsiteX0" fmla="*/ 6789701 w 12192000"/>
              <a:gd name="connsiteY0" fmla="*/ 2809623 h 2877832"/>
              <a:gd name="connsiteX1" fmla="*/ 6788702 w 12192000"/>
              <a:gd name="connsiteY1" fmla="*/ 2809701 h 2877832"/>
              <a:gd name="connsiteX2" fmla="*/ 6788476 w 12192000"/>
              <a:gd name="connsiteY2" fmla="*/ 2810235 h 2877832"/>
              <a:gd name="connsiteX3" fmla="*/ 0 w 12192000"/>
              <a:gd name="connsiteY3" fmla="*/ 0 h 2877832"/>
              <a:gd name="connsiteX4" fmla="*/ 12192000 w 12192000"/>
              <a:gd name="connsiteY4" fmla="*/ 0 h 2877832"/>
              <a:gd name="connsiteX5" fmla="*/ 12192000 w 12192000"/>
              <a:gd name="connsiteY5" fmla="*/ 1915388 h 2877832"/>
              <a:gd name="connsiteX6" fmla="*/ 12061096 w 12192000"/>
              <a:gd name="connsiteY6" fmla="*/ 1954428 h 2877832"/>
              <a:gd name="connsiteX7" fmla="*/ 11676800 w 12192000"/>
              <a:gd name="connsiteY7" fmla="*/ 2058003 h 2877832"/>
              <a:gd name="connsiteX8" fmla="*/ 10425355 w 12192000"/>
              <a:gd name="connsiteY8" fmla="*/ 2341542 h 2877832"/>
              <a:gd name="connsiteX9" fmla="*/ 9424022 w 12192000"/>
              <a:gd name="connsiteY9" fmla="*/ 2516704 h 2877832"/>
              <a:gd name="connsiteX10" fmla="*/ 8458419 w 12192000"/>
              <a:gd name="connsiteY10" fmla="*/ 2650405 h 2877832"/>
              <a:gd name="connsiteX11" fmla="*/ 7715970 w 12192000"/>
              <a:gd name="connsiteY11" fmla="*/ 2730352 h 2877832"/>
              <a:gd name="connsiteX12" fmla="*/ 6951716 w 12192000"/>
              <a:gd name="connsiteY12" fmla="*/ 2796132 h 2877832"/>
              <a:gd name="connsiteX13" fmla="*/ 6936303 w 12192000"/>
              <a:gd name="connsiteY13" fmla="*/ 2798203 h 2877832"/>
              <a:gd name="connsiteX14" fmla="*/ 6790448 w 12192000"/>
              <a:gd name="connsiteY14" fmla="*/ 2809564 h 2877832"/>
              <a:gd name="connsiteX15" fmla="*/ 6799941 w 12192000"/>
              <a:gd name="connsiteY15" fmla="*/ 2811384 h 2877832"/>
              <a:gd name="connsiteX16" fmla="*/ 6835432 w 12192000"/>
              <a:gd name="connsiteY16" fmla="*/ 2809677 h 2877832"/>
              <a:gd name="connsiteX17" fmla="*/ 6884003 w 12192000"/>
              <a:gd name="connsiteY17" fmla="*/ 2806699 h 2877832"/>
              <a:gd name="connsiteX18" fmla="*/ 7578771 w 12192000"/>
              <a:gd name="connsiteY18" fmla="*/ 2774172 h 2877832"/>
              <a:gd name="connsiteX19" fmla="*/ 8623845 w 12192000"/>
              <a:gd name="connsiteY19" fmla="*/ 2687275 h 2877832"/>
              <a:gd name="connsiteX20" fmla="*/ 9479970 w 12192000"/>
              <a:gd name="connsiteY20" fmla="*/ 2583369 h 2877832"/>
              <a:gd name="connsiteX21" fmla="*/ 10629308 w 12192000"/>
              <a:gd name="connsiteY21" fmla="*/ 2389212 h 2877832"/>
              <a:gd name="connsiteX22" fmla="*/ 11998498 w 12192000"/>
              <a:gd name="connsiteY22" fmla="*/ 2063218 h 2877832"/>
              <a:gd name="connsiteX23" fmla="*/ 12192000 w 12192000"/>
              <a:gd name="connsiteY23" fmla="*/ 2006219 h 2877832"/>
              <a:gd name="connsiteX24" fmla="*/ 12192000 w 12192000"/>
              <a:gd name="connsiteY24" fmla="*/ 2060956 h 2877832"/>
              <a:gd name="connsiteX25" fmla="*/ 11829257 w 12192000"/>
              <a:gd name="connsiteY25" fmla="*/ 2166255 h 2877832"/>
              <a:gd name="connsiteX26" fmla="*/ 10939183 w 12192000"/>
              <a:gd name="connsiteY26" fmla="*/ 2380770 h 2877832"/>
              <a:gd name="connsiteX27" fmla="*/ 9985530 w 12192000"/>
              <a:gd name="connsiteY27" fmla="*/ 2560775 h 2877832"/>
              <a:gd name="connsiteX28" fmla="*/ 9186882 w 12192000"/>
              <a:gd name="connsiteY28" fmla="*/ 2676722 h 2877832"/>
              <a:gd name="connsiteX29" fmla="*/ 8578198 w 12192000"/>
              <a:gd name="connsiteY29" fmla="*/ 2746241 h 2877832"/>
              <a:gd name="connsiteX30" fmla="*/ 7864358 w 12192000"/>
              <a:gd name="connsiteY30" fmla="*/ 2807692 h 2877832"/>
              <a:gd name="connsiteX31" fmla="*/ 6935502 w 12192000"/>
              <a:gd name="connsiteY31" fmla="*/ 2859086 h 2877832"/>
              <a:gd name="connsiteX32" fmla="*/ 6477750 w 12192000"/>
              <a:gd name="connsiteY32" fmla="*/ 2872989 h 2877832"/>
              <a:gd name="connsiteX33" fmla="*/ 6362294 w 12192000"/>
              <a:gd name="connsiteY33" fmla="*/ 2877832 h 2877832"/>
              <a:gd name="connsiteX34" fmla="*/ 6057129 w 12192000"/>
              <a:gd name="connsiteY34" fmla="*/ 2877832 h 2877832"/>
              <a:gd name="connsiteX35" fmla="*/ 5977784 w 12192000"/>
              <a:gd name="connsiteY35" fmla="*/ 2873238 h 2877832"/>
              <a:gd name="connsiteX36" fmla="*/ 5265087 w 12192000"/>
              <a:gd name="connsiteY36" fmla="*/ 2836989 h 2877832"/>
              <a:gd name="connsiteX37" fmla="*/ 4346277 w 12192000"/>
              <a:gd name="connsiteY37" fmla="*/ 2774919 h 2877832"/>
              <a:gd name="connsiteX38" fmla="*/ 3373045 w 12192000"/>
              <a:gd name="connsiteY38" fmla="*/ 2676350 h 2877832"/>
              <a:gd name="connsiteX39" fmla="*/ 2362173 w 12192000"/>
              <a:gd name="connsiteY39" fmla="*/ 2557423 h 2877832"/>
              <a:gd name="connsiteX40" fmla="*/ 1233178 w 12192000"/>
              <a:gd name="connsiteY40" fmla="*/ 2384247 h 2877832"/>
              <a:gd name="connsiteX41" fmla="*/ 68500 w 12192000"/>
              <a:gd name="connsiteY41" fmla="*/ 2144540 h 2877832"/>
              <a:gd name="connsiteX42" fmla="*/ 0 w 12192000"/>
              <a:gd name="connsiteY42" fmla="*/ 2127185 h 2877832"/>
              <a:gd name="connsiteX43" fmla="*/ 0 w 12192000"/>
              <a:gd name="connsiteY43" fmla="*/ 2070696 h 2877832"/>
              <a:gd name="connsiteX44" fmla="*/ 72441 w 12192000"/>
              <a:gd name="connsiteY44" fmla="*/ 2089473 h 2877832"/>
              <a:gd name="connsiteX45" fmla="*/ 600716 w 12192000"/>
              <a:gd name="connsiteY45" fmla="*/ 2207843 h 2877832"/>
              <a:gd name="connsiteX46" fmla="*/ 1769512 w 12192000"/>
              <a:gd name="connsiteY46" fmla="*/ 2418011 h 2877832"/>
              <a:gd name="connsiteX47" fmla="*/ 2613554 w 12192000"/>
              <a:gd name="connsiteY47" fmla="*/ 2534953 h 2877832"/>
              <a:gd name="connsiteX48" fmla="*/ 2581134 w 12192000"/>
              <a:gd name="connsiteY48" fmla="*/ 2525022 h 2877832"/>
              <a:gd name="connsiteX49" fmla="*/ 1112635 w 12192000"/>
              <a:gd name="connsiteY49" fmla="*/ 2192325 h 2877832"/>
              <a:gd name="connsiteX50" fmla="*/ 420412 w 12192000"/>
              <a:gd name="connsiteY50" fmla="*/ 1992892 h 2877832"/>
              <a:gd name="connsiteX51" fmla="*/ 0 w 12192000"/>
              <a:gd name="connsiteY51" fmla="*/ 1853975 h 287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000" h="2877832">
                <a:moveTo>
                  <a:pt x="6789701" y="2809623"/>
                </a:moveTo>
                <a:lnTo>
                  <a:pt x="6788702" y="2809701"/>
                </a:lnTo>
                <a:lnTo>
                  <a:pt x="6788476" y="28102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1915388"/>
                </a:lnTo>
                <a:lnTo>
                  <a:pt x="12061096" y="1954428"/>
                </a:lnTo>
                <a:cubicBezTo>
                  <a:pt x="11933500" y="1990642"/>
                  <a:pt x="11805390" y="2025171"/>
                  <a:pt x="11676800" y="2058003"/>
                </a:cubicBezTo>
                <a:cubicBezTo>
                  <a:pt x="11262789" y="2165510"/>
                  <a:pt x="10845343" y="2259112"/>
                  <a:pt x="10425355" y="2341542"/>
                </a:cubicBezTo>
                <a:cubicBezTo>
                  <a:pt x="10092810" y="2406753"/>
                  <a:pt x="9759033" y="2465150"/>
                  <a:pt x="9424022" y="2516704"/>
                </a:cubicBezTo>
                <a:cubicBezTo>
                  <a:pt x="9102997" y="2566361"/>
                  <a:pt x="8781133" y="2610928"/>
                  <a:pt x="8458419" y="2650405"/>
                </a:cubicBezTo>
                <a:cubicBezTo>
                  <a:pt x="8211360" y="2680571"/>
                  <a:pt x="7963792" y="2706144"/>
                  <a:pt x="7715970" y="2730352"/>
                </a:cubicBezTo>
                <a:lnTo>
                  <a:pt x="6951716" y="2796132"/>
                </a:lnTo>
                <a:lnTo>
                  <a:pt x="6936303" y="2798203"/>
                </a:lnTo>
                <a:lnTo>
                  <a:pt x="6790448" y="2809564"/>
                </a:lnTo>
                <a:lnTo>
                  <a:pt x="6799941" y="2811384"/>
                </a:lnTo>
                <a:cubicBezTo>
                  <a:pt x="6811623" y="2811850"/>
                  <a:pt x="6823734" y="2809677"/>
                  <a:pt x="6835432" y="2809677"/>
                </a:cubicBezTo>
                <a:cubicBezTo>
                  <a:pt x="6851580" y="2809677"/>
                  <a:pt x="6867729" y="2807070"/>
                  <a:pt x="6884003" y="2806699"/>
                </a:cubicBezTo>
                <a:cubicBezTo>
                  <a:pt x="7115805" y="2801237"/>
                  <a:pt x="7347351" y="2789070"/>
                  <a:pt x="7578771" y="2774172"/>
                </a:cubicBezTo>
                <a:cubicBezTo>
                  <a:pt x="7927552" y="2751704"/>
                  <a:pt x="8276080" y="2723525"/>
                  <a:pt x="8623845" y="2687275"/>
                </a:cubicBezTo>
                <a:cubicBezTo>
                  <a:pt x="8909939" y="2657977"/>
                  <a:pt x="9195310" y="2623342"/>
                  <a:pt x="9479970" y="2583369"/>
                </a:cubicBezTo>
                <a:cubicBezTo>
                  <a:pt x="9864901" y="2528995"/>
                  <a:pt x="10248014" y="2464281"/>
                  <a:pt x="10629308" y="2389212"/>
                </a:cubicBezTo>
                <a:cubicBezTo>
                  <a:pt x="11090114" y="2298092"/>
                  <a:pt x="11546975" y="2190586"/>
                  <a:pt x="11998498" y="2063218"/>
                </a:cubicBezTo>
                <a:lnTo>
                  <a:pt x="12192000" y="2006219"/>
                </a:lnTo>
                <a:lnTo>
                  <a:pt x="12192000" y="2060956"/>
                </a:lnTo>
                <a:lnTo>
                  <a:pt x="11829257" y="2166255"/>
                </a:lnTo>
                <a:cubicBezTo>
                  <a:pt x="11534769" y="2245952"/>
                  <a:pt x="11238120" y="2316838"/>
                  <a:pt x="10939183" y="2380770"/>
                </a:cubicBezTo>
                <a:cubicBezTo>
                  <a:pt x="10622824" y="2448552"/>
                  <a:pt x="10304941" y="2508549"/>
                  <a:pt x="9985530" y="2560775"/>
                </a:cubicBezTo>
                <a:cubicBezTo>
                  <a:pt x="9720036" y="2604224"/>
                  <a:pt x="9453814" y="2642869"/>
                  <a:pt x="9186882" y="2676722"/>
                </a:cubicBezTo>
                <a:cubicBezTo>
                  <a:pt x="8984197" y="2702296"/>
                  <a:pt x="8781514" y="2726379"/>
                  <a:pt x="8578198" y="2746241"/>
                </a:cubicBezTo>
                <a:cubicBezTo>
                  <a:pt x="8340547" y="2768961"/>
                  <a:pt x="8102644" y="2790436"/>
                  <a:pt x="7864358" y="2807692"/>
                </a:cubicBezTo>
                <a:cubicBezTo>
                  <a:pt x="7554994" y="2830036"/>
                  <a:pt x="7245502" y="2847914"/>
                  <a:pt x="6935502" y="2859086"/>
                </a:cubicBezTo>
                <a:cubicBezTo>
                  <a:pt x="6782917" y="2864549"/>
                  <a:pt x="6630334" y="2868397"/>
                  <a:pt x="6477750" y="2872989"/>
                </a:cubicBezTo>
                <a:cubicBezTo>
                  <a:pt x="6439195" y="2870905"/>
                  <a:pt x="6400529" y="2872530"/>
                  <a:pt x="6362294" y="2877832"/>
                </a:cubicBezTo>
                <a:lnTo>
                  <a:pt x="6057129" y="2877832"/>
                </a:lnTo>
                <a:lnTo>
                  <a:pt x="5977784" y="2873238"/>
                </a:lnTo>
                <a:cubicBezTo>
                  <a:pt x="5740261" y="2860825"/>
                  <a:pt x="5502739" y="2847046"/>
                  <a:pt x="5265087" y="2836989"/>
                </a:cubicBezTo>
                <a:cubicBezTo>
                  <a:pt x="4958267" y="2824573"/>
                  <a:pt x="4651826" y="2804093"/>
                  <a:pt x="4346277" y="2774919"/>
                </a:cubicBezTo>
                <a:cubicBezTo>
                  <a:pt x="4021654" y="2744007"/>
                  <a:pt x="3697795" y="2709372"/>
                  <a:pt x="3373045" y="2676350"/>
                </a:cubicBezTo>
                <a:cubicBezTo>
                  <a:pt x="3035412" y="2642088"/>
                  <a:pt x="2698456" y="2602449"/>
                  <a:pt x="2362173" y="2557423"/>
                </a:cubicBezTo>
                <a:cubicBezTo>
                  <a:pt x="1984692" y="2507270"/>
                  <a:pt x="1608364" y="2449544"/>
                  <a:pt x="1233178" y="2384247"/>
                </a:cubicBezTo>
                <a:cubicBezTo>
                  <a:pt x="842181" y="2315534"/>
                  <a:pt x="453758" y="2237046"/>
                  <a:pt x="68500" y="2144540"/>
                </a:cubicBezTo>
                <a:lnTo>
                  <a:pt x="0" y="2127185"/>
                </a:lnTo>
                <a:lnTo>
                  <a:pt x="0" y="2070696"/>
                </a:lnTo>
                <a:lnTo>
                  <a:pt x="72441" y="2089473"/>
                </a:lnTo>
                <a:cubicBezTo>
                  <a:pt x="247961" y="2131651"/>
                  <a:pt x="424164" y="2170911"/>
                  <a:pt x="600716" y="2207843"/>
                </a:cubicBezTo>
                <a:cubicBezTo>
                  <a:pt x="988279" y="2288657"/>
                  <a:pt x="1378133" y="2357555"/>
                  <a:pt x="1769512" y="2418011"/>
                </a:cubicBezTo>
                <a:cubicBezTo>
                  <a:pt x="2052426" y="2461587"/>
                  <a:pt x="2335725" y="2501684"/>
                  <a:pt x="2613554" y="2534953"/>
                </a:cubicBezTo>
                <a:cubicBezTo>
                  <a:pt x="2605544" y="2537560"/>
                  <a:pt x="2594611" y="2527504"/>
                  <a:pt x="2581134" y="2525022"/>
                </a:cubicBezTo>
                <a:cubicBezTo>
                  <a:pt x="2087178" y="2433070"/>
                  <a:pt x="1597684" y="2322177"/>
                  <a:pt x="1112635" y="2192325"/>
                </a:cubicBezTo>
                <a:cubicBezTo>
                  <a:pt x="880453" y="2130254"/>
                  <a:pt x="649713" y="2063776"/>
                  <a:pt x="420412" y="1992892"/>
                </a:cubicBezTo>
                <a:lnTo>
                  <a:pt x="0" y="185397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A62327D-CC9C-4792-B7E8-29C31DAC8F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630936"/>
            <a:ext cx="3599688" cy="146304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8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Le retour de marchandises</a:t>
            </a:r>
          </a:p>
        </p:txBody>
      </p:sp>
      <p:sp>
        <p:nvSpPr>
          <p:cNvPr id="15" name="sketch line">
            <a:extLst>
              <a:ext uri="{FF2B5EF4-FFF2-40B4-BE49-F238E27FC236}">
                <a16:creationId xmlns:a16="http://schemas.microsoft.com/office/drawing/2014/main" id="{59FA8C2E-A5A7-4490-927A-7CD58343ED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566159" y="1353312"/>
            <a:ext cx="1554480" cy="18288"/>
          </a:xfrm>
          <a:custGeom>
            <a:avLst/>
            <a:gdLst>
              <a:gd name="connsiteX0" fmla="*/ 0 w 1554480"/>
              <a:gd name="connsiteY0" fmla="*/ 0 h 18288"/>
              <a:gd name="connsiteX1" fmla="*/ 549250 w 1554480"/>
              <a:gd name="connsiteY1" fmla="*/ 0 h 18288"/>
              <a:gd name="connsiteX2" fmla="*/ 1082954 w 1554480"/>
              <a:gd name="connsiteY2" fmla="*/ 0 h 18288"/>
              <a:gd name="connsiteX3" fmla="*/ 1554480 w 1554480"/>
              <a:gd name="connsiteY3" fmla="*/ 0 h 18288"/>
              <a:gd name="connsiteX4" fmla="*/ 1554480 w 1554480"/>
              <a:gd name="connsiteY4" fmla="*/ 18288 h 18288"/>
              <a:gd name="connsiteX5" fmla="*/ 1067410 w 1554480"/>
              <a:gd name="connsiteY5" fmla="*/ 18288 h 18288"/>
              <a:gd name="connsiteX6" fmla="*/ 549250 w 1554480"/>
              <a:gd name="connsiteY6" fmla="*/ 18288 h 18288"/>
              <a:gd name="connsiteX7" fmla="*/ 0 w 1554480"/>
              <a:gd name="connsiteY7" fmla="*/ 18288 h 18288"/>
              <a:gd name="connsiteX8" fmla="*/ 0 w 1554480"/>
              <a:gd name="connsiteY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54480" h="18288" fill="none" extrusionOk="0">
                <a:moveTo>
                  <a:pt x="0" y="0"/>
                </a:moveTo>
                <a:cubicBezTo>
                  <a:pt x="114141" y="-19864"/>
                  <a:pt x="345055" y="-1657"/>
                  <a:pt x="549250" y="0"/>
                </a:cubicBezTo>
                <a:cubicBezTo>
                  <a:pt x="753445" y="1657"/>
                  <a:pt x="862292" y="-5674"/>
                  <a:pt x="1082954" y="0"/>
                </a:cubicBezTo>
                <a:cubicBezTo>
                  <a:pt x="1303616" y="5674"/>
                  <a:pt x="1363530" y="4537"/>
                  <a:pt x="1554480" y="0"/>
                </a:cubicBezTo>
                <a:cubicBezTo>
                  <a:pt x="1554963" y="7176"/>
                  <a:pt x="1553909" y="13682"/>
                  <a:pt x="1554480" y="18288"/>
                </a:cubicBezTo>
                <a:cubicBezTo>
                  <a:pt x="1338847" y="6127"/>
                  <a:pt x="1215066" y="37851"/>
                  <a:pt x="1067410" y="18288"/>
                </a:cubicBezTo>
                <a:cubicBezTo>
                  <a:pt x="919754" y="-1275"/>
                  <a:pt x="800465" y="3080"/>
                  <a:pt x="549250" y="18288"/>
                </a:cubicBezTo>
                <a:cubicBezTo>
                  <a:pt x="298035" y="33496"/>
                  <a:pt x="158868" y="22769"/>
                  <a:pt x="0" y="18288"/>
                </a:cubicBezTo>
                <a:cubicBezTo>
                  <a:pt x="-655" y="13237"/>
                  <a:pt x="709" y="4645"/>
                  <a:pt x="0" y="0"/>
                </a:cubicBezTo>
                <a:close/>
              </a:path>
              <a:path w="1554480" h="18288" stroke="0" extrusionOk="0">
                <a:moveTo>
                  <a:pt x="0" y="0"/>
                </a:moveTo>
                <a:cubicBezTo>
                  <a:pt x="249941" y="-58"/>
                  <a:pt x="367334" y="23448"/>
                  <a:pt x="502615" y="0"/>
                </a:cubicBezTo>
                <a:cubicBezTo>
                  <a:pt x="637897" y="-23448"/>
                  <a:pt x="813653" y="-20418"/>
                  <a:pt x="974141" y="0"/>
                </a:cubicBezTo>
                <a:cubicBezTo>
                  <a:pt x="1134629" y="20418"/>
                  <a:pt x="1268772" y="6288"/>
                  <a:pt x="1554480" y="0"/>
                </a:cubicBezTo>
                <a:cubicBezTo>
                  <a:pt x="1554917" y="7222"/>
                  <a:pt x="1555359" y="13299"/>
                  <a:pt x="1554480" y="18288"/>
                </a:cubicBezTo>
                <a:cubicBezTo>
                  <a:pt x="1336087" y="12172"/>
                  <a:pt x="1310024" y="19759"/>
                  <a:pt x="1067410" y="18288"/>
                </a:cubicBezTo>
                <a:cubicBezTo>
                  <a:pt x="824796" y="16818"/>
                  <a:pt x="787902" y="34647"/>
                  <a:pt x="518160" y="18288"/>
                </a:cubicBezTo>
                <a:cubicBezTo>
                  <a:pt x="248418" y="1930"/>
                  <a:pt x="133160" y="9205"/>
                  <a:pt x="0" y="18288"/>
                </a:cubicBezTo>
                <a:cubicBezTo>
                  <a:pt x="-643" y="9451"/>
                  <a:pt x="-340" y="7114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41275" cap="rnd">
            <a:solidFill>
              <a:srgbClr val="FFFFFF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79EEEBF-E3F2-440C-8618-5C1FFADB88D0}"/>
              </a:ext>
            </a:extLst>
          </p:cNvPr>
          <p:cNvSpPr txBox="1"/>
          <p:nvPr/>
        </p:nvSpPr>
        <p:spPr>
          <a:xfrm>
            <a:off x="4474462" y="630936"/>
            <a:ext cx="7074409" cy="14630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>
                <a:solidFill>
                  <a:srgbClr val="FFFFFF"/>
                </a:solidFill>
                <a:effectLst/>
              </a:rPr>
              <a:t>Il s’agit ici d’un retour de marchandises.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>
                <a:solidFill>
                  <a:srgbClr val="FFFFFF"/>
                </a:solidFill>
                <a:effectLst/>
              </a:rPr>
              <a:t>Les conditions de la facture originale sont conservées.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4CE403B7-C723-4D1B-893F-C88CD88819A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41247792"/>
              </p:ext>
            </p:extLst>
          </p:nvPr>
        </p:nvGraphicFramePr>
        <p:xfrm>
          <a:off x="1951280" y="2971800"/>
          <a:ext cx="8277250" cy="3278492"/>
        </p:xfrm>
        <a:graphic>
          <a:graphicData uri="http://schemas.openxmlformats.org/drawingml/2006/table">
            <a:tbl>
              <a:tblPr firstRow="1" bandRow="1"/>
              <a:tblGrid>
                <a:gridCol w="982267">
                  <a:extLst>
                    <a:ext uri="{9D8B030D-6E8A-4147-A177-3AD203B41FA5}">
                      <a16:colId xmlns:a16="http://schemas.microsoft.com/office/drawing/2014/main" val="180800165"/>
                    </a:ext>
                  </a:extLst>
                </a:gridCol>
                <a:gridCol w="1575790">
                  <a:extLst>
                    <a:ext uri="{9D8B030D-6E8A-4147-A177-3AD203B41FA5}">
                      <a16:colId xmlns:a16="http://schemas.microsoft.com/office/drawing/2014/main" val="2821340233"/>
                    </a:ext>
                  </a:extLst>
                </a:gridCol>
                <a:gridCol w="1082896">
                  <a:extLst>
                    <a:ext uri="{9D8B030D-6E8A-4147-A177-3AD203B41FA5}">
                      <a16:colId xmlns:a16="http://schemas.microsoft.com/office/drawing/2014/main" val="2338418691"/>
                    </a:ext>
                  </a:extLst>
                </a:gridCol>
                <a:gridCol w="863510">
                  <a:extLst>
                    <a:ext uri="{9D8B030D-6E8A-4147-A177-3AD203B41FA5}">
                      <a16:colId xmlns:a16="http://schemas.microsoft.com/office/drawing/2014/main" val="3750399393"/>
                    </a:ext>
                  </a:extLst>
                </a:gridCol>
                <a:gridCol w="1120963">
                  <a:extLst>
                    <a:ext uri="{9D8B030D-6E8A-4147-A177-3AD203B41FA5}">
                      <a16:colId xmlns:a16="http://schemas.microsoft.com/office/drawing/2014/main" val="1425024916"/>
                    </a:ext>
                  </a:extLst>
                </a:gridCol>
                <a:gridCol w="387422">
                  <a:extLst>
                    <a:ext uri="{9D8B030D-6E8A-4147-A177-3AD203B41FA5}">
                      <a16:colId xmlns:a16="http://schemas.microsoft.com/office/drawing/2014/main" val="4016624068"/>
                    </a:ext>
                  </a:extLst>
                </a:gridCol>
                <a:gridCol w="1056845">
                  <a:extLst>
                    <a:ext uri="{9D8B030D-6E8A-4147-A177-3AD203B41FA5}">
                      <a16:colId xmlns:a16="http://schemas.microsoft.com/office/drawing/2014/main" val="1743213385"/>
                    </a:ext>
                  </a:extLst>
                </a:gridCol>
                <a:gridCol w="1207557">
                  <a:extLst>
                    <a:ext uri="{9D8B030D-6E8A-4147-A177-3AD203B41FA5}">
                      <a16:colId xmlns:a16="http://schemas.microsoft.com/office/drawing/2014/main" val="3792698088"/>
                    </a:ext>
                  </a:extLst>
                </a:gridCol>
              </a:tblGrid>
              <a:tr h="393777">
                <a:tc>
                  <a:txBody>
                    <a:bodyPr/>
                    <a:lstStyle/>
                    <a:p>
                      <a:pPr algn="ct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3077409"/>
                  </a:ext>
                </a:extLst>
              </a:tr>
              <a:tr h="393777">
                <a:tc>
                  <a:txBody>
                    <a:bodyPr/>
                    <a:lstStyle/>
                    <a:p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r-FR" sz="23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/04/N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9124503"/>
                  </a:ext>
                </a:extLst>
              </a:tr>
              <a:tr h="751756">
                <a:tc>
                  <a:txBody>
                    <a:bodyPr/>
                    <a:lstStyle/>
                    <a:p>
                      <a:r>
                        <a:rPr lang="fr-FR" sz="23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0</a:t>
                      </a:r>
                      <a:r>
                        <a:rPr lang="fr-FR" sz="2300" dirty="0"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*</a:t>
                      </a:r>
                      <a:endParaRPr lang="fr-FR" sz="2300" dirty="0">
                        <a:effectLst/>
                        <a:highlight>
                          <a:srgbClr val="FFFF00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ente de marchandises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776,50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2253700"/>
                  </a:ext>
                </a:extLst>
              </a:tr>
              <a:tr h="751756">
                <a:tc>
                  <a:txBody>
                    <a:bodyPr/>
                    <a:lstStyle/>
                    <a:p>
                      <a:r>
                        <a:rPr lang="fr-FR" sz="2300"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71</a:t>
                      </a:r>
                      <a:endParaRPr lang="fr-FR" sz="2300">
                        <a:effectLst/>
                        <a:highlight>
                          <a:srgbClr val="FFFF00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.V.A collectée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355,30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8959750"/>
                  </a:ext>
                </a:extLst>
              </a:tr>
              <a:tr h="393777">
                <a:tc>
                  <a:txBody>
                    <a:bodyPr/>
                    <a:lstStyle/>
                    <a:p>
                      <a:pPr algn="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411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Client CFOU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31,80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9907856"/>
                  </a:ext>
                </a:extLst>
              </a:tr>
              <a:tr h="393777">
                <a:tc>
                  <a:txBody>
                    <a:bodyPr/>
                    <a:lstStyle/>
                    <a:p>
                      <a:pPr algn="ct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2300"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oir</a:t>
                      </a:r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N° A00412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3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7788607"/>
                  </a:ext>
                </a:extLst>
              </a:tr>
              <a:tr h="199872">
                <a:tc>
                  <a:txBody>
                    <a:bodyPr/>
                    <a:lstStyle/>
                    <a:p>
                      <a:pPr algn="ctr"/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504" marR="43504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7609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248754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23E547B5-89CF-4EC0-96DE-25771AED0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3F0B8CEB-8279-4E5E-A0CE-1FC9F71736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782" y="0"/>
            <a:ext cx="7421217" cy="6857999"/>
          </a:xfrm>
          <a:prstGeom prst="rect">
            <a:avLst/>
          </a:pr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0466" y="609600"/>
            <a:ext cx="4140014" cy="1330839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br>
              <a:rPr lang="en-US" sz="2800" dirty="0"/>
            </a:br>
            <a:endParaRPr lang="en-US" sz="28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6675" r="16676" b="1"/>
          <a:stretch/>
        </p:blipFill>
        <p:spPr>
          <a:xfrm>
            <a:off x="20" y="10"/>
            <a:ext cx="6901711" cy="6857990"/>
          </a:xfrm>
          <a:custGeom>
            <a:avLst/>
            <a:gdLst/>
            <a:ahLst/>
            <a:cxnLst/>
            <a:rect l="l" t="t" r="r" b="b"/>
            <a:pathLst>
              <a:path w="6901731" h="6858000">
                <a:moveTo>
                  <a:pt x="0" y="0"/>
                </a:moveTo>
                <a:lnTo>
                  <a:pt x="6897896" y="5958"/>
                </a:lnTo>
                <a:lnTo>
                  <a:pt x="6866823" y="62592"/>
                </a:lnTo>
                <a:lnTo>
                  <a:pt x="6901731" y="89476"/>
                </a:lnTo>
                <a:lnTo>
                  <a:pt x="6901731" y="103833"/>
                </a:lnTo>
                <a:lnTo>
                  <a:pt x="6900034" y="110092"/>
                </a:lnTo>
                <a:lnTo>
                  <a:pt x="6901731" y="113679"/>
                </a:lnTo>
                <a:lnTo>
                  <a:pt x="6901731" y="405560"/>
                </a:lnTo>
                <a:lnTo>
                  <a:pt x="6900456" y="429509"/>
                </a:lnTo>
                <a:cubicBezTo>
                  <a:pt x="6892773" y="535647"/>
                  <a:pt x="6878314" y="537918"/>
                  <a:pt x="6886342" y="636808"/>
                </a:cubicBezTo>
                <a:cubicBezTo>
                  <a:pt x="6892506" y="756883"/>
                  <a:pt x="6864504" y="771443"/>
                  <a:pt x="6851784" y="839073"/>
                </a:cubicBezTo>
                <a:cubicBezTo>
                  <a:pt x="6838675" y="892655"/>
                  <a:pt x="6864124" y="961738"/>
                  <a:pt x="6845760" y="994930"/>
                </a:cubicBezTo>
                <a:cubicBezTo>
                  <a:pt x="6833572" y="1024166"/>
                  <a:pt x="6859282" y="1058905"/>
                  <a:pt x="6845601" y="1112932"/>
                </a:cubicBezTo>
                <a:cubicBezTo>
                  <a:pt x="6838700" y="1149910"/>
                  <a:pt x="6829138" y="1151035"/>
                  <a:pt x="6820235" y="1187433"/>
                </a:cubicBezTo>
                <a:cubicBezTo>
                  <a:pt x="6815504" y="1196464"/>
                  <a:pt x="6777707" y="1338549"/>
                  <a:pt x="6759643" y="1337010"/>
                </a:cubicBezTo>
                <a:cubicBezTo>
                  <a:pt x="6737660" y="1337296"/>
                  <a:pt x="6760650" y="1396341"/>
                  <a:pt x="6736375" y="1382272"/>
                </a:cubicBezTo>
                <a:cubicBezTo>
                  <a:pt x="6755741" y="1415836"/>
                  <a:pt x="6714675" y="1414567"/>
                  <a:pt x="6701292" y="1432111"/>
                </a:cubicBezTo>
                <a:cubicBezTo>
                  <a:pt x="6721110" y="1460185"/>
                  <a:pt x="6692106" y="1490815"/>
                  <a:pt x="6686578" y="1518624"/>
                </a:cubicBezTo>
                <a:cubicBezTo>
                  <a:pt x="6682512" y="1567002"/>
                  <a:pt x="6679579" y="1571443"/>
                  <a:pt x="6670824" y="1607743"/>
                </a:cubicBezTo>
                <a:cubicBezTo>
                  <a:pt x="6671133" y="1629590"/>
                  <a:pt x="6663161" y="1656870"/>
                  <a:pt x="6664392" y="1696405"/>
                </a:cubicBezTo>
                <a:cubicBezTo>
                  <a:pt x="6655686" y="1770486"/>
                  <a:pt x="6641938" y="1757082"/>
                  <a:pt x="6642880" y="1812372"/>
                </a:cubicBezTo>
                <a:cubicBezTo>
                  <a:pt x="6638579" y="1872475"/>
                  <a:pt x="6619231" y="1825476"/>
                  <a:pt x="6612547" y="1876437"/>
                </a:cubicBezTo>
                <a:cubicBezTo>
                  <a:pt x="6600695" y="1913834"/>
                  <a:pt x="6591061" y="1923231"/>
                  <a:pt x="6571760" y="1953331"/>
                </a:cubicBezTo>
                <a:cubicBezTo>
                  <a:pt x="6561039" y="1989021"/>
                  <a:pt x="6544090" y="2087896"/>
                  <a:pt x="6520213" y="2096455"/>
                </a:cubicBezTo>
                <a:lnTo>
                  <a:pt x="6492461" y="2188148"/>
                </a:lnTo>
                <a:cubicBezTo>
                  <a:pt x="6504372" y="2211333"/>
                  <a:pt x="6489131" y="2253220"/>
                  <a:pt x="6471854" y="2259117"/>
                </a:cubicBezTo>
                <a:cubicBezTo>
                  <a:pt x="6466151" y="2287829"/>
                  <a:pt x="6440452" y="2301346"/>
                  <a:pt x="6439832" y="2328334"/>
                </a:cubicBezTo>
                <a:cubicBezTo>
                  <a:pt x="6431013" y="2351201"/>
                  <a:pt x="6444250" y="2396409"/>
                  <a:pt x="6425162" y="2408211"/>
                </a:cubicBezTo>
                <a:lnTo>
                  <a:pt x="6417221" y="2427382"/>
                </a:lnTo>
                <a:lnTo>
                  <a:pt x="6425030" y="2464387"/>
                </a:lnTo>
                <a:lnTo>
                  <a:pt x="6406293" y="2472223"/>
                </a:lnTo>
                <a:cubicBezTo>
                  <a:pt x="6406862" y="2477277"/>
                  <a:pt x="6406486" y="2491723"/>
                  <a:pt x="6405400" y="2493547"/>
                </a:cubicBezTo>
                <a:lnTo>
                  <a:pt x="6374829" y="2532070"/>
                </a:lnTo>
                <a:cubicBezTo>
                  <a:pt x="6374597" y="2545374"/>
                  <a:pt x="6360976" y="2563797"/>
                  <a:pt x="6350864" y="2577422"/>
                </a:cubicBezTo>
                <a:cubicBezTo>
                  <a:pt x="6327056" y="2632768"/>
                  <a:pt x="6341262" y="2616275"/>
                  <a:pt x="6329174" y="2663854"/>
                </a:cubicBezTo>
                <a:cubicBezTo>
                  <a:pt x="6326303" y="2703642"/>
                  <a:pt x="6332854" y="2709643"/>
                  <a:pt x="6315095" y="2741507"/>
                </a:cubicBezTo>
                <a:cubicBezTo>
                  <a:pt x="6319921" y="2740191"/>
                  <a:pt x="6321925" y="2742004"/>
                  <a:pt x="6322463" y="2745641"/>
                </a:cubicBezTo>
                <a:cubicBezTo>
                  <a:pt x="6322245" y="2747982"/>
                  <a:pt x="6322027" y="2750323"/>
                  <a:pt x="6321808" y="2752663"/>
                </a:cubicBezTo>
                <a:lnTo>
                  <a:pt x="6314569" y="2756718"/>
                </a:lnTo>
                <a:cubicBezTo>
                  <a:pt x="6289324" y="2773686"/>
                  <a:pt x="6317551" y="2780051"/>
                  <a:pt x="6315211" y="2811618"/>
                </a:cubicBezTo>
                <a:cubicBezTo>
                  <a:pt x="6315620" y="2826627"/>
                  <a:pt x="6296047" y="2885298"/>
                  <a:pt x="6302211" y="2882314"/>
                </a:cubicBezTo>
                <a:lnTo>
                  <a:pt x="6286167" y="2949597"/>
                </a:lnTo>
                <a:cubicBezTo>
                  <a:pt x="6286401" y="2994618"/>
                  <a:pt x="6286615" y="2971464"/>
                  <a:pt x="6287037" y="3008578"/>
                </a:cubicBezTo>
                <a:cubicBezTo>
                  <a:pt x="6293795" y="3029535"/>
                  <a:pt x="6274405" y="3114154"/>
                  <a:pt x="6259150" y="3123139"/>
                </a:cubicBezTo>
                <a:cubicBezTo>
                  <a:pt x="6250085" y="3189063"/>
                  <a:pt x="6269067" y="3151280"/>
                  <a:pt x="6272249" y="3227854"/>
                </a:cubicBezTo>
                <a:cubicBezTo>
                  <a:pt x="6278775" y="3295842"/>
                  <a:pt x="6289216" y="3303765"/>
                  <a:pt x="6292288" y="3378383"/>
                </a:cubicBezTo>
                <a:cubicBezTo>
                  <a:pt x="6303894" y="3395995"/>
                  <a:pt x="6287498" y="3432581"/>
                  <a:pt x="6288328" y="3459618"/>
                </a:cubicBezTo>
                <a:cubicBezTo>
                  <a:pt x="6289158" y="3486653"/>
                  <a:pt x="6299937" y="3538735"/>
                  <a:pt x="6297272" y="3540603"/>
                </a:cubicBezTo>
                <a:cubicBezTo>
                  <a:pt x="6296849" y="3577379"/>
                  <a:pt x="6294184" y="3587943"/>
                  <a:pt x="6291001" y="3638374"/>
                </a:cubicBezTo>
                <a:cubicBezTo>
                  <a:pt x="6283026" y="3666794"/>
                  <a:pt x="6265833" y="3731744"/>
                  <a:pt x="6283592" y="3763609"/>
                </a:cubicBezTo>
                <a:cubicBezTo>
                  <a:pt x="6264286" y="3758340"/>
                  <a:pt x="6290177" y="3803150"/>
                  <a:pt x="6274068" y="3814506"/>
                </a:cubicBezTo>
                <a:cubicBezTo>
                  <a:pt x="6260645" y="3821643"/>
                  <a:pt x="6265372" y="3836902"/>
                  <a:pt x="6262850" y="3850454"/>
                </a:cubicBezTo>
                <a:cubicBezTo>
                  <a:pt x="6250418" y="3863479"/>
                  <a:pt x="6250660" y="3955243"/>
                  <a:pt x="6257357" y="3975474"/>
                </a:cubicBezTo>
                <a:cubicBezTo>
                  <a:pt x="6245091" y="4036737"/>
                  <a:pt x="6237535" y="4029237"/>
                  <a:pt x="6257889" y="4073155"/>
                </a:cubicBezTo>
                <a:cubicBezTo>
                  <a:pt x="6259272" y="4085906"/>
                  <a:pt x="6239882" y="4116397"/>
                  <a:pt x="6237441" y="4126638"/>
                </a:cubicBezTo>
                <a:lnTo>
                  <a:pt x="6245587" y="4172738"/>
                </a:lnTo>
                <a:lnTo>
                  <a:pt x="6235772" y="4176721"/>
                </a:lnTo>
                <a:lnTo>
                  <a:pt x="6233287" y="4195136"/>
                </a:lnTo>
                <a:lnTo>
                  <a:pt x="6234619" y="4280850"/>
                </a:lnTo>
                <a:cubicBezTo>
                  <a:pt x="6239453" y="4320763"/>
                  <a:pt x="6223309" y="4337596"/>
                  <a:pt x="6219318" y="4402526"/>
                </a:cubicBezTo>
                <a:cubicBezTo>
                  <a:pt x="6205466" y="4516209"/>
                  <a:pt x="6216183" y="4588729"/>
                  <a:pt x="6216810" y="4651172"/>
                </a:cubicBezTo>
                <a:cubicBezTo>
                  <a:pt x="6217673" y="4756959"/>
                  <a:pt x="6228654" y="4824005"/>
                  <a:pt x="6225945" y="4916779"/>
                </a:cubicBezTo>
                <a:cubicBezTo>
                  <a:pt x="6217032" y="4993010"/>
                  <a:pt x="6264271" y="4984591"/>
                  <a:pt x="6230174" y="5051379"/>
                </a:cubicBezTo>
                <a:cubicBezTo>
                  <a:pt x="6235713" y="5056951"/>
                  <a:pt x="6239420" y="5163714"/>
                  <a:pt x="6242600" y="5170879"/>
                </a:cubicBezTo>
                <a:lnTo>
                  <a:pt x="6235996" y="5216428"/>
                </a:lnTo>
                <a:lnTo>
                  <a:pt x="6214638" y="5285298"/>
                </a:lnTo>
                <a:cubicBezTo>
                  <a:pt x="6211392" y="5297492"/>
                  <a:pt x="6225576" y="5312063"/>
                  <a:pt x="6228432" y="5317696"/>
                </a:cubicBezTo>
                <a:lnTo>
                  <a:pt x="6246496" y="5398787"/>
                </a:lnTo>
                <a:lnTo>
                  <a:pt x="6244793" y="5399530"/>
                </a:lnTo>
                <a:lnTo>
                  <a:pt x="6241695" y="5406948"/>
                </a:lnTo>
                <a:lnTo>
                  <a:pt x="6267461" y="5499413"/>
                </a:lnTo>
                <a:cubicBezTo>
                  <a:pt x="6285387" y="5533848"/>
                  <a:pt x="6284888" y="5550029"/>
                  <a:pt x="6295987" y="5582659"/>
                </a:cubicBezTo>
                <a:cubicBezTo>
                  <a:pt x="6311253" y="5681724"/>
                  <a:pt x="6295439" y="5695558"/>
                  <a:pt x="6364803" y="5784263"/>
                </a:cubicBezTo>
                <a:cubicBezTo>
                  <a:pt x="6379348" y="5818651"/>
                  <a:pt x="6412475" y="5906802"/>
                  <a:pt x="6423050" y="5922637"/>
                </a:cubicBezTo>
                <a:cubicBezTo>
                  <a:pt x="6445210" y="5973612"/>
                  <a:pt x="6468179" y="6023873"/>
                  <a:pt x="6497767" y="6090108"/>
                </a:cubicBezTo>
                <a:cubicBezTo>
                  <a:pt x="6571895" y="6150548"/>
                  <a:pt x="6572491" y="6236583"/>
                  <a:pt x="6606710" y="6281543"/>
                </a:cubicBezTo>
                <a:cubicBezTo>
                  <a:pt x="6633675" y="6335892"/>
                  <a:pt x="6654357" y="6388782"/>
                  <a:pt x="6667540" y="6443715"/>
                </a:cubicBezTo>
                <a:cubicBezTo>
                  <a:pt x="6685192" y="6466826"/>
                  <a:pt x="6650500" y="6508701"/>
                  <a:pt x="6659722" y="6550105"/>
                </a:cubicBezTo>
                <a:cubicBezTo>
                  <a:pt x="6665926" y="6645044"/>
                  <a:pt x="6669126" y="6627536"/>
                  <a:pt x="6671805" y="6687397"/>
                </a:cubicBezTo>
                <a:cubicBezTo>
                  <a:pt x="6682671" y="6733683"/>
                  <a:pt x="6665210" y="6772117"/>
                  <a:pt x="6669658" y="6806602"/>
                </a:cubicBezTo>
                <a:cubicBezTo>
                  <a:pt x="6661174" y="6812658"/>
                  <a:pt x="6667097" y="6831470"/>
                  <a:pt x="6675783" y="6850325"/>
                </a:cubicBezTo>
                <a:lnTo>
                  <a:pt x="6679704" y="6858000"/>
                </a:lnTo>
                <a:lnTo>
                  <a:pt x="4532241" y="6858000"/>
                </a:lnTo>
                <a:lnTo>
                  <a:pt x="120859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7320465" y="2194102"/>
            <a:ext cx="4140013" cy="39085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Les </a:t>
            </a:r>
            <a:r>
              <a:rPr lang="en-US" sz="4000" dirty="0" err="1"/>
              <a:t>écritures</a:t>
            </a:r>
            <a:endParaRPr lang="en-US" sz="4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4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Cas pratiques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4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Cas RRR1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369934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644713-AF21-4543-94FE-A96FEBAA2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420065"/>
          </a:xfrm>
        </p:spPr>
        <p:txBody>
          <a:bodyPr>
            <a:normAutofit fontScale="90000"/>
          </a:bodyPr>
          <a:lstStyle/>
          <a:p>
            <a:r>
              <a:rPr lang="fr-FR" dirty="0"/>
              <a:t>Correction RRR 1</a:t>
            </a:r>
          </a:p>
        </p:txBody>
      </p:sp>
      <p:graphicFrame>
        <p:nvGraphicFramePr>
          <p:cNvPr id="5" name="Espace réservé du contenu 4">
            <a:extLst>
              <a:ext uri="{FF2B5EF4-FFF2-40B4-BE49-F238E27FC236}">
                <a16:creationId xmlns:a16="http://schemas.microsoft.com/office/drawing/2014/main" id="{45F626AC-1F44-4757-B4FD-077685C39AC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0873400"/>
              </p:ext>
            </p:extLst>
          </p:nvPr>
        </p:nvGraphicFramePr>
        <p:xfrm>
          <a:off x="407504" y="1361662"/>
          <a:ext cx="5367130" cy="4572000"/>
        </p:xfrm>
        <a:graphic>
          <a:graphicData uri="http://schemas.openxmlformats.org/drawingml/2006/table">
            <a:tbl>
              <a:tblPr/>
              <a:tblGrid>
                <a:gridCol w="3146169">
                  <a:extLst>
                    <a:ext uri="{9D8B030D-6E8A-4147-A177-3AD203B41FA5}">
                      <a16:colId xmlns:a16="http://schemas.microsoft.com/office/drawing/2014/main" val="2193574691"/>
                    </a:ext>
                  </a:extLst>
                </a:gridCol>
                <a:gridCol w="2220961">
                  <a:extLst>
                    <a:ext uri="{9D8B030D-6E8A-4147-A177-3AD203B41FA5}">
                      <a16:colId xmlns:a16="http://schemas.microsoft.com/office/drawing/2014/main" val="1328386562"/>
                    </a:ext>
                  </a:extLst>
                </a:gridCol>
              </a:tblGrid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SAINTLOUP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6574444"/>
                  </a:ext>
                </a:extLst>
              </a:tr>
              <a:tr h="296849"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 : 04/01/N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7411817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DIX-VINS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6775157"/>
                  </a:ext>
                </a:extLst>
              </a:tr>
              <a:tr h="296849"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cture 20F15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3441848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 950,0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2178843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Remise 15%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42,5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1627039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787810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commercial H.T 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 207,5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4484999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T.V.A 20 %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841,5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546022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0037383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T.T.C à payer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 049,0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970384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6750611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ompte 10 %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4,9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83233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1887708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stant dû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 544,10</a:t>
                      </a:r>
                      <a:endParaRPr lang="fr-FR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5783960"/>
                  </a:ext>
                </a:extLst>
              </a:tr>
            </a:tbl>
          </a:graphicData>
        </a:graphic>
      </p:graphicFrame>
      <p:sp>
        <p:nvSpPr>
          <p:cNvPr id="9" name="ZoneTexte 8">
            <a:extLst>
              <a:ext uri="{FF2B5EF4-FFF2-40B4-BE49-F238E27FC236}">
                <a16:creationId xmlns:a16="http://schemas.microsoft.com/office/drawing/2014/main" id="{386674B8-23E5-4776-9065-5B640B3F8F6F}"/>
              </a:ext>
            </a:extLst>
          </p:cNvPr>
          <p:cNvSpPr txBox="1"/>
          <p:nvPr/>
        </p:nvSpPr>
        <p:spPr>
          <a:xfrm>
            <a:off x="685800" y="6061987"/>
            <a:ext cx="993167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1844675" algn="l"/>
              </a:tabLst>
            </a:pPr>
            <a:r>
              <a:rPr lang="fr-FR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oncernant la facture d’avoir, elle concerne le retour de 216 bouteilles, soit 18 cartons de 12 bouteilles (ou 40 % du volume total de la commande)</a:t>
            </a:r>
            <a:endParaRPr lang="fr-FR" sz="24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45AFCB1D-0726-4004-BD1A-A1FB07D0A7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1193603"/>
              </p:ext>
            </p:extLst>
          </p:nvPr>
        </p:nvGraphicFramePr>
        <p:xfrm>
          <a:off x="6096000" y="1291266"/>
          <a:ext cx="5989983" cy="4642396"/>
        </p:xfrm>
        <a:graphic>
          <a:graphicData uri="http://schemas.openxmlformats.org/drawingml/2006/table">
            <a:tbl>
              <a:tblPr/>
              <a:tblGrid>
                <a:gridCol w="3507702">
                  <a:extLst>
                    <a:ext uri="{9D8B030D-6E8A-4147-A177-3AD203B41FA5}">
                      <a16:colId xmlns:a16="http://schemas.microsoft.com/office/drawing/2014/main" val="2749476516"/>
                    </a:ext>
                  </a:extLst>
                </a:gridCol>
                <a:gridCol w="2482281">
                  <a:extLst>
                    <a:ext uri="{9D8B030D-6E8A-4147-A177-3AD203B41FA5}">
                      <a16:colId xmlns:a16="http://schemas.microsoft.com/office/drawing/2014/main" val="601506998"/>
                    </a:ext>
                  </a:extLst>
                </a:gridCol>
              </a:tblGrid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SAINTLOUP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3764784"/>
                  </a:ext>
                </a:extLst>
              </a:tr>
              <a:tr h="422036"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 : 19/01/N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1224508"/>
                  </a:ext>
                </a:extLst>
              </a:tr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DIX-VINS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7096690"/>
                  </a:ext>
                </a:extLst>
              </a:tr>
              <a:tr h="422036"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oir 20A6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3259016"/>
                  </a:ext>
                </a:extLst>
              </a:tr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tour 18 cartons 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980,0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3141582"/>
                  </a:ext>
                </a:extLst>
              </a:tr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Remise 15%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7,0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0784152"/>
                  </a:ext>
                </a:extLst>
              </a:tr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5469773"/>
                  </a:ext>
                </a:extLst>
              </a:tr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H.T 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683,0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795023"/>
                  </a:ext>
                </a:extLst>
              </a:tr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T.V.A 20 %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336,6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1357281"/>
                  </a:ext>
                </a:extLst>
              </a:tr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1499866"/>
                  </a:ext>
                </a:extLst>
              </a:tr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 votre faveur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9,60</a:t>
                      </a:r>
                      <a:endParaRPr lang="fr-FR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01683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803485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91A997B-66BC-4EE8-AE60-BABCAC888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315912"/>
          </a:xfrm>
        </p:spPr>
        <p:txBody>
          <a:bodyPr>
            <a:normAutofit fontScale="90000"/>
          </a:bodyPr>
          <a:lstStyle/>
          <a:p>
            <a:r>
              <a:rPr lang="fr-FR" dirty="0"/>
              <a:t>RRR1 - Corrigé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4AABC54-2180-4F73-9948-B6849C5F71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6286" y="5275537"/>
            <a:ext cx="10515600" cy="1373741"/>
          </a:xfrm>
        </p:spPr>
        <p:txBody>
          <a:bodyPr>
            <a:normAutofit fontScale="85000" lnSpcReduction="20000"/>
          </a:bodyPr>
          <a:lstStyle/>
          <a:p>
            <a:r>
              <a:rPr lang="fr-FR" sz="2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oncernant la facture d’avoir, elle concerne les 60 % restants soit 324 bouteilles (27 cartons)</a:t>
            </a:r>
            <a:endParaRPr lang="fr-FR" sz="3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fr-FR" sz="2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e qui représente un brut de 4 950 * 60 % = 2 970 € HT</a:t>
            </a:r>
            <a:endParaRPr lang="fr-FR" sz="3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fr-FR" sz="2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t donc un rabais de 2 970 * 20 % = 594 € HT</a:t>
            </a:r>
            <a:endParaRPr lang="fr-FR" sz="3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fr-FR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862D9251-85CF-41C3-A48F-6E8A80B667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1393692"/>
              </p:ext>
            </p:extLst>
          </p:nvPr>
        </p:nvGraphicFramePr>
        <p:xfrm>
          <a:off x="606286" y="914400"/>
          <a:ext cx="10416209" cy="3955770"/>
        </p:xfrm>
        <a:graphic>
          <a:graphicData uri="http://schemas.openxmlformats.org/drawingml/2006/table">
            <a:tbl>
              <a:tblPr/>
              <a:tblGrid>
                <a:gridCol w="6105897">
                  <a:extLst>
                    <a:ext uri="{9D8B030D-6E8A-4147-A177-3AD203B41FA5}">
                      <a16:colId xmlns:a16="http://schemas.microsoft.com/office/drawing/2014/main" val="3247257220"/>
                    </a:ext>
                  </a:extLst>
                </a:gridCol>
                <a:gridCol w="4310312">
                  <a:extLst>
                    <a:ext uri="{9D8B030D-6E8A-4147-A177-3AD203B41FA5}">
                      <a16:colId xmlns:a16="http://schemas.microsoft.com/office/drawing/2014/main" val="1156990957"/>
                    </a:ext>
                  </a:extLst>
                </a:gridCol>
              </a:tblGrid>
              <a:tr h="39557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SAINTLOUP</a:t>
                      </a:r>
                      <a:endParaRPr lang="fr-FR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6314761"/>
                  </a:ext>
                </a:extLst>
              </a:tr>
              <a:tr h="395577"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2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 : 23/01/N</a:t>
                      </a:r>
                      <a:endParaRPr lang="fr-FR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1844447"/>
                  </a:ext>
                </a:extLst>
              </a:tr>
              <a:tr h="39557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DIX-VINS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1340519"/>
                  </a:ext>
                </a:extLst>
              </a:tr>
              <a:tr h="395577"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oir 20A75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507677"/>
                  </a:ext>
                </a:extLst>
              </a:tr>
              <a:tr h="39557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oir 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94,0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6065352"/>
                  </a:ext>
                </a:extLst>
              </a:tr>
              <a:tr h="39557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544156"/>
                  </a:ext>
                </a:extLst>
              </a:tr>
              <a:tr h="39557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H.T 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94,0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972003"/>
                  </a:ext>
                </a:extLst>
              </a:tr>
              <a:tr h="39557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T.V.A 20  %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118,8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0002754"/>
                  </a:ext>
                </a:extLst>
              </a:tr>
              <a:tr h="39557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9078372"/>
                  </a:ext>
                </a:extLst>
              </a:tr>
              <a:tr h="39557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 votre faveur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12,80</a:t>
                      </a:r>
                      <a:endParaRPr lang="fr-FR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0405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8287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>
            <a:extLst>
              <a:ext uri="{FF2B5EF4-FFF2-40B4-BE49-F238E27FC236}">
                <a16:creationId xmlns:a16="http://schemas.microsoft.com/office/drawing/2014/main" id="{03549B7A-066D-4011-88EB-5129437E0AC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6114332"/>
              </p:ext>
            </p:extLst>
          </p:nvPr>
        </p:nvGraphicFramePr>
        <p:xfrm>
          <a:off x="2943498" y="62785"/>
          <a:ext cx="5276578" cy="67298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2" imgW="6478817" imgH="8262657" progId="Word.Document.12">
                  <p:embed/>
                </p:oleObj>
              </mc:Choice>
              <mc:Fallback>
                <p:oleObj name="Document" r:id="rId2" imgW="6478817" imgH="8262657" progId="Word.Document.12">
                  <p:embed/>
                  <p:pic>
                    <p:nvPicPr>
                      <p:cNvPr id="8" name="Objet 7">
                        <a:extLst>
                          <a:ext uri="{FF2B5EF4-FFF2-40B4-BE49-F238E27FC236}">
                            <a16:creationId xmlns:a16="http://schemas.microsoft.com/office/drawing/2014/main" id="{03549B7A-066D-4011-88EB-5129437E0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943498" y="62785"/>
                        <a:ext cx="5276578" cy="672980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5944188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0CFB80B-948C-4DCD-B125-E01D1DE2D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hez ST LOUP                          Chez DIX VINS</a:t>
            </a:r>
          </a:p>
        </p:txBody>
      </p:sp>
      <p:graphicFrame>
        <p:nvGraphicFramePr>
          <p:cNvPr id="9" name="Espace réservé du contenu 8">
            <a:extLst>
              <a:ext uri="{FF2B5EF4-FFF2-40B4-BE49-F238E27FC236}">
                <a16:creationId xmlns:a16="http://schemas.microsoft.com/office/drawing/2014/main" id="{1E747829-FA88-4678-8487-2DB53727F5E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77551638"/>
              </p:ext>
            </p:extLst>
          </p:nvPr>
        </p:nvGraphicFramePr>
        <p:xfrm>
          <a:off x="149638" y="2102325"/>
          <a:ext cx="6079117" cy="2346957"/>
        </p:xfrm>
        <a:graphic>
          <a:graphicData uri="http://schemas.openxmlformats.org/drawingml/2006/table">
            <a:tbl>
              <a:tblPr/>
              <a:tblGrid>
                <a:gridCol w="868334">
                  <a:extLst>
                    <a:ext uri="{9D8B030D-6E8A-4147-A177-3AD203B41FA5}">
                      <a16:colId xmlns:a16="http://schemas.microsoft.com/office/drawing/2014/main" val="4230665547"/>
                    </a:ext>
                  </a:extLst>
                </a:gridCol>
                <a:gridCol w="890734">
                  <a:extLst>
                    <a:ext uri="{9D8B030D-6E8A-4147-A177-3AD203B41FA5}">
                      <a16:colId xmlns:a16="http://schemas.microsoft.com/office/drawing/2014/main" val="1347895173"/>
                    </a:ext>
                  </a:extLst>
                </a:gridCol>
                <a:gridCol w="1253748">
                  <a:extLst>
                    <a:ext uri="{9D8B030D-6E8A-4147-A177-3AD203B41FA5}">
                      <a16:colId xmlns:a16="http://schemas.microsoft.com/office/drawing/2014/main" val="2098929571"/>
                    </a:ext>
                  </a:extLst>
                </a:gridCol>
                <a:gridCol w="72589">
                  <a:extLst>
                    <a:ext uri="{9D8B030D-6E8A-4147-A177-3AD203B41FA5}">
                      <a16:colId xmlns:a16="http://schemas.microsoft.com/office/drawing/2014/main" val="1664922160"/>
                    </a:ext>
                  </a:extLst>
                </a:gridCol>
                <a:gridCol w="1191819">
                  <a:extLst>
                    <a:ext uri="{9D8B030D-6E8A-4147-A177-3AD203B41FA5}">
                      <a16:colId xmlns:a16="http://schemas.microsoft.com/office/drawing/2014/main" val="3057593382"/>
                    </a:ext>
                  </a:extLst>
                </a:gridCol>
                <a:gridCol w="316895">
                  <a:extLst>
                    <a:ext uri="{9D8B030D-6E8A-4147-A177-3AD203B41FA5}">
                      <a16:colId xmlns:a16="http://schemas.microsoft.com/office/drawing/2014/main" val="1854090856"/>
                    </a:ext>
                  </a:extLst>
                </a:gridCol>
                <a:gridCol w="742499">
                  <a:extLst>
                    <a:ext uri="{9D8B030D-6E8A-4147-A177-3AD203B41FA5}">
                      <a16:colId xmlns:a16="http://schemas.microsoft.com/office/drawing/2014/main" val="973298524"/>
                    </a:ext>
                  </a:extLst>
                </a:gridCol>
                <a:gridCol w="742499">
                  <a:extLst>
                    <a:ext uri="{9D8B030D-6E8A-4147-A177-3AD203B41FA5}">
                      <a16:colId xmlns:a16="http://schemas.microsoft.com/office/drawing/2014/main" val="1070290769"/>
                    </a:ext>
                  </a:extLst>
                </a:gridCol>
              </a:tblGrid>
              <a:tr h="260773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0501242"/>
                  </a:ext>
                </a:extLst>
              </a:tr>
              <a:tr h="260773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r-FR" sz="14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4/01/N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665705"/>
                  </a:ext>
                </a:extLst>
              </a:tr>
              <a:tr h="260773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ient DIX-VINS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 544,1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9821326"/>
                  </a:ext>
                </a:extLst>
              </a:tr>
              <a:tr h="260773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4,9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1678973"/>
                  </a:ext>
                </a:extLst>
              </a:tr>
              <a:tr h="260773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7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T.V.A collectée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41,5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785268"/>
                  </a:ext>
                </a:extLst>
              </a:tr>
              <a:tr h="521546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707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Vente de marchandises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 207,5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9743703"/>
                  </a:ext>
                </a:extLst>
              </a:tr>
              <a:tr h="260773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cture N° 20F15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1216036"/>
                  </a:ext>
                </a:extLst>
              </a:tr>
              <a:tr h="260773"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6399416"/>
                  </a:ext>
                </a:extLst>
              </a:tr>
            </a:tbl>
          </a:graphicData>
        </a:graphic>
      </p:graphicFrame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53ACA630-92D7-4FD8-BDC2-8C5BCED2DC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5329442"/>
              </p:ext>
            </p:extLst>
          </p:nvPr>
        </p:nvGraphicFramePr>
        <p:xfrm>
          <a:off x="70125" y="4662644"/>
          <a:ext cx="6025874" cy="1688457"/>
        </p:xfrm>
        <a:graphic>
          <a:graphicData uri="http://schemas.openxmlformats.org/drawingml/2006/table">
            <a:tbl>
              <a:tblPr/>
              <a:tblGrid>
                <a:gridCol w="889880">
                  <a:extLst>
                    <a:ext uri="{9D8B030D-6E8A-4147-A177-3AD203B41FA5}">
                      <a16:colId xmlns:a16="http://schemas.microsoft.com/office/drawing/2014/main" val="321466716"/>
                    </a:ext>
                  </a:extLst>
                </a:gridCol>
                <a:gridCol w="889880">
                  <a:extLst>
                    <a:ext uri="{9D8B030D-6E8A-4147-A177-3AD203B41FA5}">
                      <a16:colId xmlns:a16="http://schemas.microsoft.com/office/drawing/2014/main" val="2044548150"/>
                    </a:ext>
                  </a:extLst>
                </a:gridCol>
                <a:gridCol w="1340395">
                  <a:extLst>
                    <a:ext uri="{9D8B030D-6E8A-4147-A177-3AD203B41FA5}">
                      <a16:colId xmlns:a16="http://schemas.microsoft.com/office/drawing/2014/main" val="1981046562"/>
                    </a:ext>
                  </a:extLst>
                </a:gridCol>
                <a:gridCol w="1213832">
                  <a:extLst>
                    <a:ext uri="{9D8B030D-6E8A-4147-A177-3AD203B41FA5}">
                      <a16:colId xmlns:a16="http://schemas.microsoft.com/office/drawing/2014/main" val="3343697284"/>
                    </a:ext>
                  </a:extLst>
                </a:gridCol>
                <a:gridCol w="209847">
                  <a:extLst>
                    <a:ext uri="{9D8B030D-6E8A-4147-A177-3AD203B41FA5}">
                      <a16:colId xmlns:a16="http://schemas.microsoft.com/office/drawing/2014/main" val="3976682366"/>
                    </a:ext>
                  </a:extLst>
                </a:gridCol>
                <a:gridCol w="734462">
                  <a:extLst>
                    <a:ext uri="{9D8B030D-6E8A-4147-A177-3AD203B41FA5}">
                      <a16:colId xmlns:a16="http://schemas.microsoft.com/office/drawing/2014/main" val="110034224"/>
                    </a:ext>
                  </a:extLst>
                </a:gridCol>
                <a:gridCol w="747578">
                  <a:extLst>
                    <a:ext uri="{9D8B030D-6E8A-4147-A177-3AD203B41FA5}">
                      <a16:colId xmlns:a16="http://schemas.microsoft.com/office/drawing/2014/main" val="3673764092"/>
                    </a:ext>
                  </a:extLst>
                </a:gridCol>
              </a:tblGrid>
              <a:tr h="241208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5740497"/>
                  </a:ext>
                </a:extLst>
              </a:tr>
              <a:tr h="241208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4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/01/N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4781003"/>
                  </a:ext>
                </a:extLst>
              </a:tr>
              <a:tr h="241208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07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ente de marchandises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83,0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0324114"/>
                  </a:ext>
                </a:extLst>
              </a:tr>
              <a:tr h="241208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7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.V.A collectée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36,6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849784"/>
                  </a:ext>
                </a:extLst>
              </a:tr>
              <a:tr h="482417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41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Client DIX-VINS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9,6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3858226"/>
                  </a:ext>
                </a:extLst>
              </a:tr>
              <a:tr h="241208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oir 20A60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5400036"/>
                  </a:ext>
                </a:extLst>
              </a:tr>
            </a:tbl>
          </a:graphicData>
        </a:graphic>
      </p:graphicFrame>
      <p:sp>
        <p:nvSpPr>
          <p:cNvPr id="11" name="Rectangle 2">
            <a:extLst>
              <a:ext uri="{FF2B5EF4-FFF2-40B4-BE49-F238E27FC236}">
                <a16:creationId xmlns:a16="http://schemas.microsoft.com/office/drawing/2014/main" id="{C42D3E78-840F-4ECE-9036-7C20CD6B81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454965" y="134112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hez SAINTLOUP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B371AD77-3665-4473-867C-0A5F047F02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048354"/>
              </p:ext>
            </p:extLst>
          </p:nvPr>
        </p:nvGraphicFramePr>
        <p:xfrm>
          <a:off x="6292021" y="2102325"/>
          <a:ext cx="5899979" cy="2346960"/>
        </p:xfrm>
        <a:graphic>
          <a:graphicData uri="http://schemas.openxmlformats.org/drawingml/2006/table">
            <a:tbl>
              <a:tblPr/>
              <a:tblGrid>
                <a:gridCol w="839886">
                  <a:extLst>
                    <a:ext uri="{9D8B030D-6E8A-4147-A177-3AD203B41FA5}">
                      <a16:colId xmlns:a16="http://schemas.microsoft.com/office/drawing/2014/main" val="3581822002"/>
                    </a:ext>
                  </a:extLst>
                </a:gridCol>
                <a:gridCol w="862877">
                  <a:extLst>
                    <a:ext uri="{9D8B030D-6E8A-4147-A177-3AD203B41FA5}">
                      <a16:colId xmlns:a16="http://schemas.microsoft.com/office/drawing/2014/main" val="446234207"/>
                    </a:ext>
                  </a:extLst>
                </a:gridCol>
                <a:gridCol w="1217992">
                  <a:extLst>
                    <a:ext uri="{9D8B030D-6E8A-4147-A177-3AD203B41FA5}">
                      <a16:colId xmlns:a16="http://schemas.microsoft.com/office/drawing/2014/main" val="3464989384"/>
                    </a:ext>
                  </a:extLst>
                </a:gridCol>
                <a:gridCol w="76991">
                  <a:extLst>
                    <a:ext uri="{9D8B030D-6E8A-4147-A177-3AD203B41FA5}">
                      <a16:colId xmlns:a16="http://schemas.microsoft.com/office/drawing/2014/main" val="3598231975"/>
                    </a:ext>
                  </a:extLst>
                </a:gridCol>
                <a:gridCol w="1157316">
                  <a:extLst>
                    <a:ext uri="{9D8B030D-6E8A-4147-A177-3AD203B41FA5}">
                      <a16:colId xmlns:a16="http://schemas.microsoft.com/office/drawing/2014/main" val="2552270902"/>
                    </a:ext>
                  </a:extLst>
                </a:gridCol>
                <a:gridCol w="306574">
                  <a:extLst>
                    <a:ext uri="{9D8B030D-6E8A-4147-A177-3AD203B41FA5}">
                      <a16:colId xmlns:a16="http://schemas.microsoft.com/office/drawing/2014/main" val="3016604502"/>
                    </a:ext>
                  </a:extLst>
                </a:gridCol>
                <a:gridCol w="713423">
                  <a:extLst>
                    <a:ext uri="{9D8B030D-6E8A-4147-A177-3AD203B41FA5}">
                      <a16:colId xmlns:a16="http://schemas.microsoft.com/office/drawing/2014/main" val="1391897057"/>
                    </a:ext>
                  </a:extLst>
                </a:gridCol>
                <a:gridCol w="724920">
                  <a:extLst>
                    <a:ext uri="{9D8B030D-6E8A-4147-A177-3AD203B41FA5}">
                      <a16:colId xmlns:a16="http://schemas.microsoft.com/office/drawing/2014/main" val="3872919728"/>
                    </a:ext>
                  </a:extLst>
                </a:gridCol>
              </a:tblGrid>
              <a:tr h="1600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3625481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r-FR" sz="14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4/01/N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702280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7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hats de marchandises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 207,5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4103225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66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VA Déductible sur biens et services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41,5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6199265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Fournisseur SAINTLOUP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 544,1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189149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512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Banque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4,9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8219483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cture 20F15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2400858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244910"/>
                  </a:ext>
                </a:extLst>
              </a:tr>
            </a:tbl>
          </a:graphicData>
        </a:graphic>
      </p:graphicFrame>
      <p:graphicFrame>
        <p:nvGraphicFramePr>
          <p:cNvPr id="15" name="Tableau 14">
            <a:extLst>
              <a:ext uri="{FF2B5EF4-FFF2-40B4-BE49-F238E27FC236}">
                <a16:creationId xmlns:a16="http://schemas.microsoft.com/office/drawing/2014/main" id="{7F4B5347-7984-4237-AA38-6B1089BEDD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6809570"/>
              </p:ext>
            </p:extLst>
          </p:nvPr>
        </p:nvGraphicFramePr>
        <p:xfrm>
          <a:off x="6228754" y="4662645"/>
          <a:ext cx="5751529" cy="1706880"/>
        </p:xfrm>
        <a:graphic>
          <a:graphicData uri="http://schemas.openxmlformats.org/drawingml/2006/table">
            <a:tbl>
              <a:tblPr/>
              <a:tblGrid>
                <a:gridCol w="821995">
                  <a:extLst>
                    <a:ext uri="{9D8B030D-6E8A-4147-A177-3AD203B41FA5}">
                      <a16:colId xmlns:a16="http://schemas.microsoft.com/office/drawing/2014/main" val="3166479279"/>
                    </a:ext>
                  </a:extLst>
                </a:gridCol>
                <a:gridCol w="841938">
                  <a:extLst>
                    <a:ext uri="{9D8B030D-6E8A-4147-A177-3AD203B41FA5}">
                      <a16:colId xmlns:a16="http://schemas.microsoft.com/office/drawing/2014/main" val="1310589009"/>
                    </a:ext>
                  </a:extLst>
                </a:gridCol>
                <a:gridCol w="1186566">
                  <a:extLst>
                    <a:ext uri="{9D8B030D-6E8A-4147-A177-3AD203B41FA5}">
                      <a16:colId xmlns:a16="http://schemas.microsoft.com/office/drawing/2014/main" val="174716583"/>
                    </a:ext>
                  </a:extLst>
                </a:gridCol>
                <a:gridCol w="69850">
                  <a:extLst>
                    <a:ext uri="{9D8B030D-6E8A-4147-A177-3AD203B41FA5}">
                      <a16:colId xmlns:a16="http://schemas.microsoft.com/office/drawing/2014/main" val="2089451430"/>
                    </a:ext>
                  </a:extLst>
                </a:gridCol>
                <a:gridCol w="1127986">
                  <a:extLst>
                    <a:ext uri="{9D8B030D-6E8A-4147-A177-3AD203B41FA5}">
                      <a16:colId xmlns:a16="http://schemas.microsoft.com/office/drawing/2014/main" val="687431697"/>
                    </a:ext>
                  </a:extLst>
                </a:gridCol>
                <a:gridCol w="299134">
                  <a:extLst>
                    <a:ext uri="{9D8B030D-6E8A-4147-A177-3AD203B41FA5}">
                      <a16:colId xmlns:a16="http://schemas.microsoft.com/office/drawing/2014/main" val="601400147"/>
                    </a:ext>
                  </a:extLst>
                </a:gridCol>
                <a:gridCol w="696733">
                  <a:extLst>
                    <a:ext uri="{9D8B030D-6E8A-4147-A177-3AD203B41FA5}">
                      <a16:colId xmlns:a16="http://schemas.microsoft.com/office/drawing/2014/main" val="270108623"/>
                    </a:ext>
                  </a:extLst>
                </a:gridCol>
                <a:gridCol w="707327">
                  <a:extLst>
                    <a:ext uri="{9D8B030D-6E8A-4147-A177-3AD203B41FA5}">
                      <a16:colId xmlns:a16="http://schemas.microsoft.com/office/drawing/2014/main" val="3034486015"/>
                    </a:ext>
                  </a:extLst>
                </a:gridCol>
              </a:tblGrid>
              <a:tr h="204348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4132988"/>
                  </a:ext>
                </a:extLst>
              </a:tr>
              <a:tr h="204348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r-FR" sz="14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/01/N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528218"/>
                  </a:ext>
                </a:extLst>
              </a:tr>
              <a:tr h="204348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urnisseur SAINTLOUP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9,6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5723562"/>
                  </a:ext>
                </a:extLst>
              </a:tr>
              <a:tr h="204348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7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Achats de </a:t>
                      </a:r>
                      <a:r>
                        <a:rPr lang="fr-FR" sz="1400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rch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83,0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4762251"/>
                  </a:ext>
                </a:extLst>
              </a:tr>
              <a:tr h="408698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44566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TVA Déductible sur B S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36,6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6072024"/>
                  </a:ext>
                </a:extLst>
              </a:tr>
              <a:tr h="204348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oir N° 20A60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5215237"/>
                  </a:ext>
                </a:extLst>
              </a:tr>
              <a:tr h="204348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98603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36503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5164A463-B201-4E44-BC57-FF454DE7CC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765" y="204181"/>
            <a:ext cx="10766469" cy="889124"/>
          </a:xfrm>
          <a:prstGeom prst="rect">
            <a:avLst/>
          </a:prstGeom>
        </p:spPr>
      </p:pic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DDEC20EB-3E45-48F3-BF9C-FB014B1CDC8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3571795"/>
              </p:ext>
            </p:extLst>
          </p:nvPr>
        </p:nvGraphicFramePr>
        <p:xfrm>
          <a:off x="5935183" y="1728333"/>
          <a:ext cx="5858010" cy="1813472"/>
        </p:xfrm>
        <a:graphic>
          <a:graphicData uri="http://schemas.openxmlformats.org/drawingml/2006/table">
            <a:tbl>
              <a:tblPr/>
              <a:tblGrid>
                <a:gridCol w="861023">
                  <a:extLst>
                    <a:ext uri="{9D8B030D-6E8A-4147-A177-3AD203B41FA5}">
                      <a16:colId xmlns:a16="http://schemas.microsoft.com/office/drawing/2014/main" val="3528309171"/>
                    </a:ext>
                  </a:extLst>
                </a:gridCol>
                <a:gridCol w="862931">
                  <a:extLst>
                    <a:ext uri="{9D8B030D-6E8A-4147-A177-3AD203B41FA5}">
                      <a16:colId xmlns:a16="http://schemas.microsoft.com/office/drawing/2014/main" val="209563378"/>
                    </a:ext>
                  </a:extLst>
                </a:gridCol>
                <a:gridCol w="1297894">
                  <a:extLst>
                    <a:ext uri="{9D8B030D-6E8A-4147-A177-3AD203B41FA5}">
                      <a16:colId xmlns:a16="http://schemas.microsoft.com/office/drawing/2014/main" val="3313392832"/>
                    </a:ext>
                  </a:extLst>
                </a:gridCol>
                <a:gridCol w="1175163">
                  <a:extLst>
                    <a:ext uri="{9D8B030D-6E8A-4147-A177-3AD203B41FA5}">
                      <a16:colId xmlns:a16="http://schemas.microsoft.com/office/drawing/2014/main" val="325264630"/>
                    </a:ext>
                  </a:extLst>
                </a:gridCol>
                <a:gridCol w="227020">
                  <a:extLst>
                    <a:ext uri="{9D8B030D-6E8A-4147-A177-3AD203B41FA5}">
                      <a16:colId xmlns:a16="http://schemas.microsoft.com/office/drawing/2014/main" val="2361198814"/>
                    </a:ext>
                  </a:extLst>
                </a:gridCol>
                <a:gridCol w="713492">
                  <a:extLst>
                    <a:ext uri="{9D8B030D-6E8A-4147-A177-3AD203B41FA5}">
                      <a16:colId xmlns:a16="http://schemas.microsoft.com/office/drawing/2014/main" val="1935997682"/>
                    </a:ext>
                  </a:extLst>
                </a:gridCol>
                <a:gridCol w="720487">
                  <a:extLst>
                    <a:ext uri="{9D8B030D-6E8A-4147-A177-3AD203B41FA5}">
                      <a16:colId xmlns:a16="http://schemas.microsoft.com/office/drawing/2014/main" val="2146430090"/>
                    </a:ext>
                  </a:extLst>
                </a:gridCol>
              </a:tblGrid>
              <a:tr h="226684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1518559"/>
                  </a:ext>
                </a:extLst>
              </a:tr>
              <a:tr h="226684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4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/01/N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3233522"/>
                  </a:ext>
                </a:extLst>
              </a:tr>
              <a:tr h="226684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urnisseur SAINTLOUP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12,8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9913703"/>
                  </a:ext>
                </a:extLst>
              </a:tr>
              <a:tr h="453368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66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TVA Déductible sur biens et services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94,0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881353"/>
                  </a:ext>
                </a:extLst>
              </a:tr>
              <a:tr h="453368"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609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RRR Obtenus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8,8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6307942"/>
                  </a:ext>
                </a:extLst>
              </a:tr>
              <a:tr h="226684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oir N° 20A60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3101348"/>
                  </a:ext>
                </a:extLst>
              </a:tr>
            </a:tbl>
          </a:graphicData>
        </a:graphic>
      </p:graphicFrame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003A891D-18A8-4F79-8035-4AF184220B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914601"/>
              </p:ext>
            </p:extLst>
          </p:nvPr>
        </p:nvGraphicFramePr>
        <p:xfrm>
          <a:off x="5935183" y="4075043"/>
          <a:ext cx="6256817" cy="2417830"/>
        </p:xfrm>
        <a:graphic>
          <a:graphicData uri="http://schemas.openxmlformats.org/drawingml/2006/table">
            <a:tbl>
              <a:tblPr/>
              <a:tblGrid>
                <a:gridCol w="918566">
                  <a:extLst>
                    <a:ext uri="{9D8B030D-6E8A-4147-A177-3AD203B41FA5}">
                      <a16:colId xmlns:a16="http://schemas.microsoft.com/office/drawing/2014/main" val="3279777692"/>
                    </a:ext>
                  </a:extLst>
                </a:gridCol>
                <a:gridCol w="918566">
                  <a:extLst>
                    <a:ext uri="{9D8B030D-6E8A-4147-A177-3AD203B41FA5}">
                      <a16:colId xmlns:a16="http://schemas.microsoft.com/office/drawing/2014/main" val="4257459473"/>
                    </a:ext>
                  </a:extLst>
                </a:gridCol>
                <a:gridCol w="1317942">
                  <a:extLst>
                    <a:ext uri="{9D8B030D-6E8A-4147-A177-3AD203B41FA5}">
                      <a16:colId xmlns:a16="http://schemas.microsoft.com/office/drawing/2014/main" val="3091071803"/>
                    </a:ext>
                  </a:extLst>
                </a:gridCol>
                <a:gridCol w="74606">
                  <a:extLst>
                    <a:ext uri="{9D8B030D-6E8A-4147-A177-3AD203B41FA5}">
                      <a16:colId xmlns:a16="http://schemas.microsoft.com/office/drawing/2014/main" val="3648534532"/>
                    </a:ext>
                  </a:extLst>
                </a:gridCol>
                <a:gridCol w="1252958">
                  <a:extLst>
                    <a:ext uri="{9D8B030D-6E8A-4147-A177-3AD203B41FA5}">
                      <a16:colId xmlns:a16="http://schemas.microsoft.com/office/drawing/2014/main" val="1588271041"/>
                    </a:ext>
                  </a:extLst>
                </a:gridCol>
                <a:gridCol w="235565">
                  <a:extLst>
                    <a:ext uri="{9D8B030D-6E8A-4147-A177-3AD203B41FA5}">
                      <a16:colId xmlns:a16="http://schemas.microsoft.com/office/drawing/2014/main" val="1283483106"/>
                    </a:ext>
                  </a:extLst>
                </a:gridCol>
                <a:gridCol w="766938">
                  <a:extLst>
                    <a:ext uri="{9D8B030D-6E8A-4147-A177-3AD203B41FA5}">
                      <a16:colId xmlns:a16="http://schemas.microsoft.com/office/drawing/2014/main" val="4186390966"/>
                    </a:ext>
                  </a:extLst>
                </a:gridCol>
                <a:gridCol w="771676">
                  <a:extLst>
                    <a:ext uri="{9D8B030D-6E8A-4147-A177-3AD203B41FA5}">
                      <a16:colId xmlns:a16="http://schemas.microsoft.com/office/drawing/2014/main" val="1029276861"/>
                    </a:ext>
                  </a:extLst>
                </a:gridCol>
              </a:tblGrid>
              <a:tr h="345404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636064"/>
                  </a:ext>
                </a:extLst>
              </a:tr>
              <a:tr h="345404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r-FR" sz="14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/02/N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8787649"/>
                  </a:ext>
                </a:extLst>
              </a:tr>
              <a:tr h="345404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urnisseurs SAINTLOUP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811,7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1970067"/>
                  </a:ext>
                </a:extLst>
              </a:tr>
              <a:tr h="690810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Banque (4528,95 - 2012,87 - 710,42)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811,7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6251783"/>
                  </a:ext>
                </a:extLst>
              </a:tr>
              <a:tr h="345404"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glement du solde 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0331672"/>
                  </a:ext>
                </a:extLst>
              </a:tr>
              <a:tr h="345404"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3806990"/>
                  </a:ext>
                </a:extLst>
              </a:tr>
            </a:tbl>
          </a:graphicData>
        </a:graphic>
      </p:graphicFrame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837B8EB3-3F8D-4B5F-80F8-A5F6DC2614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6718338"/>
              </p:ext>
            </p:extLst>
          </p:nvPr>
        </p:nvGraphicFramePr>
        <p:xfrm>
          <a:off x="246266" y="1728333"/>
          <a:ext cx="5518429" cy="2108169"/>
        </p:xfrm>
        <a:graphic>
          <a:graphicData uri="http://schemas.openxmlformats.org/drawingml/2006/table">
            <a:tbl>
              <a:tblPr/>
              <a:tblGrid>
                <a:gridCol w="483216">
                  <a:extLst>
                    <a:ext uri="{9D8B030D-6E8A-4147-A177-3AD203B41FA5}">
                      <a16:colId xmlns:a16="http://schemas.microsoft.com/office/drawing/2014/main" val="399757990"/>
                    </a:ext>
                  </a:extLst>
                </a:gridCol>
                <a:gridCol w="861049">
                  <a:extLst>
                    <a:ext uri="{9D8B030D-6E8A-4147-A177-3AD203B41FA5}">
                      <a16:colId xmlns:a16="http://schemas.microsoft.com/office/drawing/2014/main" val="3314532417"/>
                    </a:ext>
                  </a:extLst>
                </a:gridCol>
                <a:gridCol w="1213875">
                  <a:extLst>
                    <a:ext uri="{9D8B030D-6E8A-4147-A177-3AD203B41FA5}">
                      <a16:colId xmlns:a16="http://schemas.microsoft.com/office/drawing/2014/main" val="2755327201"/>
                    </a:ext>
                  </a:extLst>
                </a:gridCol>
                <a:gridCol w="70170">
                  <a:extLst>
                    <a:ext uri="{9D8B030D-6E8A-4147-A177-3AD203B41FA5}">
                      <a16:colId xmlns:a16="http://schemas.microsoft.com/office/drawing/2014/main" val="3427743722"/>
                    </a:ext>
                  </a:extLst>
                </a:gridCol>
                <a:gridCol w="1153373">
                  <a:extLst>
                    <a:ext uri="{9D8B030D-6E8A-4147-A177-3AD203B41FA5}">
                      <a16:colId xmlns:a16="http://schemas.microsoft.com/office/drawing/2014/main" val="700201794"/>
                    </a:ext>
                  </a:extLst>
                </a:gridCol>
                <a:gridCol w="306334">
                  <a:extLst>
                    <a:ext uri="{9D8B030D-6E8A-4147-A177-3AD203B41FA5}">
                      <a16:colId xmlns:a16="http://schemas.microsoft.com/office/drawing/2014/main" val="469222902"/>
                    </a:ext>
                  </a:extLst>
                </a:gridCol>
                <a:gridCol w="715206">
                  <a:extLst>
                    <a:ext uri="{9D8B030D-6E8A-4147-A177-3AD203B41FA5}">
                      <a16:colId xmlns:a16="http://schemas.microsoft.com/office/drawing/2014/main" val="4044556528"/>
                    </a:ext>
                  </a:extLst>
                </a:gridCol>
                <a:gridCol w="715206">
                  <a:extLst>
                    <a:ext uri="{9D8B030D-6E8A-4147-A177-3AD203B41FA5}">
                      <a16:colId xmlns:a16="http://schemas.microsoft.com/office/drawing/2014/main" val="2572641239"/>
                    </a:ext>
                  </a:extLst>
                </a:gridCol>
              </a:tblGrid>
              <a:tr h="234241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3151079"/>
                  </a:ext>
                </a:extLst>
              </a:tr>
              <a:tr h="234241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r-FR" sz="1400" i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/01/N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9829464"/>
                  </a:ext>
                </a:extLst>
              </a:tr>
              <a:tr h="234241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0</a:t>
                      </a:r>
                      <a:r>
                        <a:rPr lang="fr-FR" sz="1400"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RR Accordés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94,0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2888303"/>
                  </a:ext>
                </a:extLst>
              </a:tr>
              <a:tr h="468482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7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.V.A collectée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8,8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7006189"/>
                  </a:ext>
                </a:extLst>
              </a:tr>
              <a:tr h="468482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41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Client DIX-VINS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12,8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4301752"/>
                  </a:ext>
                </a:extLst>
              </a:tr>
              <a:tr h="234241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cture N°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8469273"/>
                  </a:ext>
                </a:extLst>
              </a:tr>
              <a:tr h="234241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6943462"/>
                  </a:ext>
                </a:extLst>
              </a:tr>
            </a:tbl>
          </a:graphicData>
        </a:graphic>
      </p:graphicFrame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963F81F5-128B-4897-B5F8-13508D013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3661252"/>
              </p:ext>
            </p:extLst>
          </p:nvPr>
        </p:nvGraphicFramePr>
        <p:xfrm>
          <a:off x="159026" y="4351232"/>
          <a:ext cx="5665304" cy="1753184"/>
        </p:xfrm>
        <a:graphic>
          <a:graphicData uri="http://schemas.openxmlformats.org/drawingml/2006/table">
            <a:tbl>
              <a:tblPr/>
              <a:tblGrid>
                <a:gridCol w="655983">
                  <a:extLst>
                    <a:ext uri="{9D8B030D-6E8A-4147-A177-3AD203B41FA5}">
                      <a16:colId xmlns:a16="http://schemas.microsoft.com/office/drawing/2014/main" val="3038054674"/>
                    </a:ext>
                  </a:extLst>
                </a:gridCol>
                <a:gridCol w="606287">
                  <a:extLst>
                    <a:ext uri="{9D8B030D-6E8A-4147-A177-3AD203B41FA5}">
                      <a16:colId xmlns:a16="http://schemas.microsoft.com/office/drawing/2014/main" val="92981738"/>
                    </a:ext>
                  </a:extLst>
                </a:gridCol>
                <a:gridCol w="2677277">
                  <a:extLst>
                    <a:ext uri="{9D8B030D-6E8A-4147-A177-3AD203B41FA5}">
                      <a16:colId xmlns:a16="http://schemas.microsoft.com/office/drawing/2014/main" val="4148595657"/>
                    </a:ext>
                  </a:extLst>
                </a:gridCol>
                <a:gridCol w="215010">
                  <a:extLst>
                    <a:ext uri="{9D8B030D-6E8A-4147-A177-3AD203B41FA5}">
                      <a16:colId xmlns:a16="http://schemas.microsoft.com/office/drawing/2014/main" val="1446920283"/>
                    </a:ext>
                  </a:extLst>
                </a:gridCol>
                <a:gridCol w="764704">
                  <a:extLst>
                    <a:ext uri="{9D8B030D-6E8A-4147-A177-3AD203B41FA5}">
                      <a16:colId xmlns:a16="http://schemas.microsoft.com/office/drawing/2014/main" val="1216711788"/>
                    </a:ext>
                  </a:extLst>
                </a:gridCol>
                <a:gridCol w="746043">
                  <a:extLst>
                    <a:ext uri="{9D8B030D-6E8A-4147-A177-3AD203B41FA5}">
                      <a16:colId xmlns:a16="http://schemas.microsoft.com/office/drawing/2014/main" val="2502724384"/>
                    </a:ext>
                  </a:extLst>
                </a:gridCol>
              </a:tblGrid>
              <a:tr h="350637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14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/02/N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531922"/>
                  </a:ext>
                </a:extLst>
              </a:tr>
              <a:tr h="701273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 (4544,10 – 2019,60 -712,80)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811,7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6830783"/>
                  </a:ext>
                </a:extLst>
              </a:tr>
              <a:tr h="350637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Client DIX-VINS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811,70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2112954"/>
                  </a:ext>
                </a:extLst>
              </a:tr>
              <a:tr h="350637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glement du solde 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06808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828107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87">
            <a:extLst>
              <a:ext uri="{FF2B5EF4-FFF2-40B4-BE49-F238E27FC236}">
                <a16:creationId xmlns:a16="http://schemas.microsoft.com/office/drawing/2014/main" id="{16C5FA50-8D52-4617-AF91-5C7B1C835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56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3496" y="618681"/>
            <a:ext cx="2613872" cy="4794567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>
                <a:solidFill>
                  <a:srgbClr val="FFFFFF"/>
                </a:solidFill>
              </a:rPr>
              <a:t>Merci</a:t>
            </a:r>
          </a:p>
        </p:txBody>
      </p:sp>
      <p:sp>
        <p:nvSpPr>
          <p:cNvPr id="90" name="Rounded Rectangle 9">
            <a:extLst>
              <a:ext uri="{FF2B5EF4-FFF2-40B4-BE49-F238E27FC236}">
                <a16:creationId xmlns:a16="http://schemas.microsoft.com/office/drawing/2014/main" id="{E223798C-12AD-4B0C-A50C-D676347D67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3354" y="484632"/>
            <a:ext cx="8129016" cy="572414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5579" r="5579"/>
          <a:stretch/>
        </p:blipFill>
        <p:spPr>
          <a:xfrm>
            <a:off x="976251" y="942538"/>
            <a:ext cx="7163222" cy="4808332"/>
          </a:xfrm>
          <a:prstGeom prst="rect">
            <a:avLst/>
          </a:prstGeom>
          <a:effectLst/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5313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>
            <a:extLst>
              <a:ext uri="{FF2B5EF4-FFF2-40B4-BE49-F238E27FC236}">
                <a16:creationId xmlns:a16="http://schemas.microsoft.com/office/drawing/2014/main" id="{D1BABF3C-2D4C-44EE-953C-2D26242FA08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99204555"/>
              </p:ext>
            </p:extLst>
          </p:nvPr>
        </p:nvGraphicFramePr>
        <p:xfrm>
          <a:off x="3100251" y="-10549"/>
          <a:ext cx="5018225" cy="67191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2" imgW="6478817" imgH="8675952" progId="Word.Document.12">
                  <p:embed/>
                </p:oleObj>
              </mc:Choice>
              <mc:Fallback>
                <p:oleObj name="Document" r:id="rId2" imgW="6478817" imgH="8675952" progId="Word.Document.12">
                  <p:embed/>
                  <p:pic>
                    <p:nvPicPr>
                      <p:cNvPr id="3" name="Objet 2">
                        <a:extLst>
                          <a:ext uri="{FF2B5EF4-FFF2-40B4-BE49-F238E27FC236}">
                            <a16:creationId xmlns:a16="http://schemas.microsoft.com/office/drawing/2014/main" id="{D1BABF3C-2D4C-44EE-953C-2D26242FA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100251" y="-10549"/>
                        <a:ext cx="5018225" cy="67191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189540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>
            <a:extLst>
              <a:ext uri="{FF2B5EF4-FFF2-40B4-BE49-F238E27FC236}">
                <a16:creationId xmlns:a16="http://schemas.microsoft.com/office/drawing/2014/main" id="{26A5003C-883F-46D1-92B2-A39F7110646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85252167"/>
              </p:ext>
            </p:extLst>
          </p:nvPr>
        </p:nvGraphicFramePr>
        <p:xfrm>
          <a:off x="1915887" y="142125"/>
          <a:ext cx="8338528" cy="65547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2" imgW="6478817" imgH="5092383" progId="Word.Document.12">
                  <p:embed/>
                </p:oleObj>
              </mc:Choice>
              <mc:Fallback>
                <p:oleObj name="Document" r:id="rId2" imgW="6478817" imgH="5092383" progId="Word.Document.12">
                  <p:embed/>
                  <p:pic>
                    <p:nvPicPr>
                      <p:cNvPr id="2" name="Objet 1">
                        <a:extLst>
                          <a:ext uri="{FF2B5EF4-FFF2-40B4-BE49-F238E27FC236}">
                            <a16:creationId xmlns:a16="http://schemas.microsoft.com/office/drawing/2014/main" id="{26A5003C-883F-46D1-92B2-A39F711064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915887" y="142125"/>
                        <a:ext cx="8338528" cy="65547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831689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7" name="Rectangle 76">
            <a:extLst>
              <a:ext uri="{FF2B5EF4-FFF2-40B4-BE49-F238E27FC236}">
                <a16:creationId xmlns:a16="http://schemas.microsoft.com/office/drawing/2014/main" id="{8537B233-9CDD-4A90-AABB-A8963DEE4F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3400" y="818457"/>
            <a:ext cx="3322317" cy="2975876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br>
              <a:rPr lang="en-US" sz="3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en-US" sz="31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t="21540" b="21540"/>
          <a:stretch/>
        </p:blipFill>
        <p:spPr>
          <a:xfrm>
            <a:off x="716280" y="2215808"/>
            <a:ext cx="5401937" cy="2036367"/>
          </a:xfrm>
          <a:prstGeom prst="rect">
            <a:avLst/>
          </a:prstGeom>
        </p:spPr>
      </p:pic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040575EE-C594-4566-BC00-663004E52A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617861" y="1417320"/>
            <a:ext cx="0" cy="402336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8045042" y="1417320"/>
            <a:ext cx="364977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>
                <a:latin typeface="Arial" panose="020B0604020202020204" pitchFamily="34" charset="0"/>
                <a:cs typeface="Arial" panose="020B0604020202020204" pitchFamily="34" charset="0"/>
              </a:rPr>
              <a:t>La TVA -  vocabulaire</a:t>
            </a:r>
          </a:p>
          <a:p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63568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>
            <a:spLocks noChangeArrowheads="1"/>
          </p:cNvSpPr>
          <p:nvPr/>
        </p:nvSpPr>
        <p:spPr bwMode="auto">
          <a:xfrm>
            <a:off x="5817643" y="6177935"/>
            <a:ext cx="22313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28600" indent="-228600" algn="just" fontAlgn="base">
              <a:spcBef>
                <a:spcPct val="0"/>
              </a:spcBef>
              <a:spcAft>
                <a:spcPct val="0"/>
              </a:spcAft>
            </a:pPr>
            <a:endParaRPr lang="fr-FR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100" dirty="0">
                <a:solidFill>
                  <a:prstClr val="black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.</a:t>
            </a:r>
            <a:endParaRPr lang="fr-FR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Diagramme 3"/>
          <p:cNvGraphicFramePr/>
          <p:nvPr/>
        </p:nvGraphicFramePr>
        <p:xfrm>
          <a:off x="1847528" y="476672"/>
          <a:ext cx="8568952" cy="59167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719572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>
            <a:spLocks noChangeArrowheads="1"/>
          </p:cNvSpPr>
          <p:nvPr/>
        </p:nvSpPr>
        <p:spPr bwMode="auto">
          <a:xfrm>
            <a:off x="5817643" y="6177935"/>
            <a:ext cx="22313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28600" indent="-228600" algn="just" fontAlgn="base">
              <a:spcBef>
                <a:spcPct val="0"/>
              </a:spcBef>
              <a:spcAft>
                <a:spcPct val="0"/>
              </a:spcAft>
            </a:pPr>
            <a:endParaRPr lang="fr-FR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100" dirty="0">
                <a:solidFill>
                  <a:prstClr val="black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.</a:t>
            </a:r>
            <a:endParaRPr lang="fr-FR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Diagramme 4"/>
          <p:cNvGraphicFramePr/>
          <p:nvPr/>
        </p:nvGraphicFramePr>
        <p:xfrm>
          <a:off x="1703512" y="476672"/>
          <a:ext cx="5112568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Diagramme 7"/>
          <p:cNvGraphicFramePr/>
          <p:nvPr/>
        </p:nvGraphicFramePr>
        <p:xfrm>
          <a:off x="6888088" y="476672"/>
          <a:ext cx="3672408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720677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5</TotalTime>
  <Words>3352</Words>
  <Application>Microsoft Office PowerPoint</Application>
  <PresentationFormat>Grand écran</PresentationFormat>
  <Paragraphs>1231</Paragraphs>
  <Slides>42</Slides>
  <Notes>8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2</vt:i4>
      </vt:variant>
    </vt:vector>
  </HeadingPairs>
  <TitlesOfParts>
    <vt:vector size="54" baseType="lpstr">
      <vt:lpstr>Arial</vt:lpstr>
      <vt:lpstr>Calibri</vt:lpstr>
      <vt:lpstr>Calibri Light</vt:lpstr>
      <vt:lpstr>roboto_bold</vt:lpstr>
      <vt:lpstr>roboto_regular</vt:lpstr>
      <vt:lpstr>Times New Roman</vt:lpstr>
      <vt:lpstr>Tw Cen MT</vt:lpstr>
      <vt:lpstr>Verdana</vt:lpstr>
      <vt:lpstr>Thème Office</vt:lpstr>
      <vt:lpstr>1_Thème Office</vt:lpstr>
      <vt:lpstr>2_Thème Office</vt:lpstr>
      <vt:lpstr>Document</vt:lpstr>
      <vt:lpstr>Université de Montpellier </vt:lpstr>
      <vt:lpstr>Programme prévisionnel</vt:lpstr>
      <vt:lpstr> </vt:lpstr>
      <vt:lpstr>Présentation PowerPoint</vt:lpstr>
      <vt:lpstr>Présentation PowerPoint</vt:lpstr>
      <vt:lpstr>Présentation PowerPoint</vt:lpstr>
      <vt:lpstr> </vt:lpstr>
      <vt:lpstr>Présentation PowerPoint</vt:lpstr>
      <vt:lpstr>Présentation PowerPoint</vt:lpstr>
      <vt:lpstr>Principe TVA</vt:lpstr>
      <vt:lpstr> </vt:lpstr>
      <vt:lpstr>Comptabilisation - principes</vt:lpstr>
      <vt:lpstr>Règles  - TVA</vt:lpstr>
      <vt:lpstr>Comptabilisation – exemple – entreprise API</vt:lpstr>
      <vt:lpstr>Comptabilisation – exemple – entreprise BETA</vt:lpstr>
      <vt:lpstr>TVA logique </vt:lpstr>
      <vt:lpstr>Comptabilisation – exemple – entreprise ATLAS</vt:lpstr>
      <vt:lpstr>Comptabilisation – exemple – entreprise BON</vt:lpstr>
      <vt:lpstr>TVA logique </vt:lpstr>
      <vt:lpstr>facture – formalisme </vt:lpstr>
      <vt:lpstr>facture – formalisme </vt:lpstr>
      <vt:lpstr>facture – formalisme </vt:lpstr>
      <vt:lpstr>facture – formalisme </vt:lpstr>
      <vt:lpstr>facture – formalisme </vt:lpstr>
      <vt:lpstr>facture – formalisme </vt:lpstr>
      <vt:lpstr>facture – formalisme </vt:lpstr>
      <vt:lpstr>Exerçons nous</vt:lpstr>
      <vt:lpstr> </vt:lpstr>
      <vt:lpstr>Exemple de facture</vt:lpstr>
      <vt:lpstr>Exerçons nous – Cas HA -correction</vt:lpstr>
      <vt:lpstr>Présentation PowerPoint</vt:lpstr>
      <vt:lpstr> </vt:lpstr>
      <vt:lpstr>Factures 05/04 – 08/04</vt:lpstr>
      <vt:lpstr>Factures avril – 10 au 24 / avril </vt:lpstr>
      <vt:lpstr>Présentation PowerPoint</vt:lpstr>
      <vt:lpstr>Le retour de marchandises</vt:lpstr>
      <vt:lpstr> </vt:lpstr>
      <vt:lpstr>Correction RRR 1</vt:lpstr>
      <vt:lpstr>RRR1 - Corrigé</vt:lpstr>
      <vt:lpstr>Chez ST LOUP                          Chez DIX VINS</vt:lpstr>
      <vt:lpstr>Présentation PowerPoint</vt:lpstr>
      <vt:lpstr>Merc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mation Février 2021 ATHENA SECURITE</dc:title>
  <dc:creator>christophe CHUECOS-FONT</dc:creator>
  <cp:lastModifiedBy>christophe CHUECOS-FONT</cp:lastModifiedBy>
  <cp:revision>4</cp:revision>
  <dcterms:created xsi:type="dcterms:W3CDTF">2021-02-02T18:32:53Z</dcterms:created>
  <dcterms:modified xsi:type="dcterms:W3CDTF">2021-05-05T08:48:15Z</dcterms:modified>
</cp:coreProperties>
</file>